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43"/>
  </p:notesMasterIdLst>
  <p:sldIdLst>
    <p:sldId id="317" r:id="rId2"/>
    <p:sldId id="292" r:id="rId3"/>
    <p:sldId id="295" r:id="rId4"/>
    <p:sldId id="322" r:id="rId5"/>
    <p:sldId id="294" r:id="rId6"/>
    <p:sldId id="320" r:id="rId7"/>
    <p:sldId id="291" r:id="rId8"/>
    <p:sldId id="343" r:id="rId9"/>
    <p:sldId id="347" r:id="rId10"/>
    <p:sldId id="354" r:id="rId11"/>
    <p:sldId id="345" r:id="rId12"/>
    <p:sldId id="290" r:id="rId13"/>
    <p:sldId id="341" r:id="rId14"/>
    <p:sldId id="306" r:id="rId15"/>
    <p:sldId id="296" r:id="rId16"/>
    <p:sldId id="340" r:id="rId17"/>
    <p:sldId id="314" r:id="rId18"/>
    <p:sldId id="297" r:id="rId19"/>
    <p:sldId id="299" r:id="rId20"/>
    <p:sldId id="315" r:id="rId21"/>
    <p:sldId id="342" r:id="rId22"/>
    <p:sldId id="352" r:id="rId23"/>
    <p:sldId id="303" r:id="rId24"/>
    <p:sldId id="318" r:id="rId25"/>
    <p:sldId id="344" r:id="rId26"/>
    <p:sldId id="289" r:id="rId27"/>
    <p:sldId id="319" r:id="rId28"/>
    <p:sldId id="300" r:id="rId29"/>
    <p:sldId id="338" r:id="rId30"/>
    <p:sldId id="304" r:id="rId31"/>
    <p:sldId id="305" r:id="rId32"/>
    <p:sldId id="301" r:id="rId33"/>
    <p:sldId id="307" r:id="rId34"/>
    <p:sldId id="313" r:id="rId35"/>
    <p:sldId id="308" r:id="rId36"/>
    <p:sldId id="311" r:id="rId37"/>
    <p:sldId id="312" r:id="rId38"/>
    <p:sldId id="339" r:id="rId39"/>
    <p:sldId id="302" r:id="rId40"/>
    <p:sldId id="288" r:id="rId41"/>
    <p:sldId id="316" r:id="rId42"/>
  </p:sldIdLst>
  <p:sldSz cx="9144000" cy="6858000" type="screen4x3"/>
  <p:notesSz cx="6858000" cy="9144000"/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7"/>
    <a:srgbClr val="FFFFF3"/>
    <a:srgbClr val="FFFFCC"/>
    <a:srgbClr val="F66F00"/>
    <a:srgbClr val="FF1D1D"/>
    <a:srgbClr val="FFFF99"/>
    <a:srgbClr val="33CC33"/>
    <a:srgbClr val="FF9900"/>
    <a:srgbClr val="F3F3F3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2043" autoAdjust="0"/>
    <p:restoredTop sz="94660"/>
  </p:normalViewPr>
  <p:slideViewPr>
    <p:cSldViewPr>
      <p:cViewPr varScale="1">
        <p:scale>
          <a:sx n="90" d="100"/>
          <a:sy n="90" d="100"/>
        </p:scale>
        <p:origin x="-1578" y="-96"/>
      </p:cViewPr>
      <p:guideLst>
        <p:guide orient="horz" pos="2222"/>
        <p:guide pos="282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198" cy="7619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emf"/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en-US" altLang="zh-CN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 altLang="zh-CN"/>
          </a:p>
        </p:txBody>
      </p:sp>
      <p:sp>
        <p:nvSpPr>
          <p:cNvPr id="2052" name="Rectangle 4"/>
          <p:cNvSpPr>
            <a:spLocks noGrp="1" noRot="1" noChangeAspect="1" noChangeArrowheads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sp>
      <p:sp>
        <p:nvSpPr>
          <p:cNvPr id="2053" name="Rectangle 5"/>
          <p:cNvSpPr>
            <a:spLocks noGrp="1" noRot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en-US" altLang="zh-CN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998D4552-AB6E-4E6E-8FD2-B800694EE58F}" type="slidenum">
              <a:rPr lang="en-US" altLang="zh-CN"/>
              <a:pPr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7250217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</p:sldLayoutIdLst>
  <p:timing>
    <p:tnLst>
      <p:par>
        <p:cTn id="1" dur="indefinite" restart="never" nodeType="tmRoot"/>
      </p:par>
    </p:tnLst>
  </p:timing>
  <p:txStyles>
    <p:titleStyle>
      <a:lvl1pPr algn="l" rtl="0" fontAlgn="base">
        <a:spcBef>
          <a:spcPct val="0"/>
        </a:spcBef>
        <a:spcAft>
          <a:spcPct val="0"/>
        </a:spcAft>
        <a:defRPr sz="4200" b="1"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200" b="1">
          <a:latin typeface="Arial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4200" b="1">
          <a:latin typeface="Arial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4200" b="1">
          <a:latin typeface="Arial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4200" b="1"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200" b="1"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200" b="1"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200" b="1"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200" b="1">
          <a:latin typeface="Arial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oleObject" Target="../embeddings/oleObject2.bin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4.emf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组合 34"/>
          <p:cNvGrpSpPr>
            <a:grpSpLocks noChangeAspect="1"/>
          </p:cNvGrpSpPr>
          <p:nvPr/>
        </p:nvGrpSpPr>
        <p:grpSpPr bwMode="auto">
          <a:xfrm>
            <a:off x="5178425" y="1752600"/>
            <a:ext cx="1008062" cy="1008062"/>
            <a:chOff x="4776637" y="4404800"/>
            <a:chExt cx="1011863" cy="1008000"/>
          </a:xfrm>
        </p:grpSpPr>
        <p:sp>
          <p:nvSpPr>
            <p:cNvPr id="29" name="Oval 2"/>
            <p:cNvSpPr>
              <a:spLocks noChangeAspect="1" noChangeArrowheads="1"/>
            </p:cNvSpPr>
            <p:nvPr/>
          </p:nvSpPr>
          <p:spPr bwMode="auto">
            <a:xfrm>
              <a:off x="4780500" y="4404800"/>
              <a:ext cx="1008000" cy="100800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0" name="椭圆 29"/>
            <p:cNvSpPr>
              <a:spLocks/>
            </p:cNvSpPr>
            <p:nvPr/>
          </p:nvSpPr>
          <p:spPr>
            <a:xfrm rot="19388639">
              <a:off x="4776637" y="4463533"/>
              <a:ext cx="683605" cy="466696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 dirty="0">
                <a:solidFill>
                  <a:srgbClr val="FFFFFF"/>
                </a:solidFill>
                <a:ea typeface="微软雅黑" pitchFamily="34" charset="-122"/>
              </a:endParaRPr>
            </a:p>
          </p:txBody>
        </p:sp>
        <p:sp>
          <p:nvSpPr>
            <p:cNvPr id="31" name="椭圆 30"/>
            <p:cNvSpPr>
              <a:spLocks noChangeAspect="1"/>
            </p:cNvSpPr>
            <p:nvPr/>
          </p:nvSpPr>
          <p:spPr>
            <a:xfrm>
              <a:off x="4888500" y="4512800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FFC000">
                    <a:alpha val="6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/>
            </a:p>
          </p:txBody>
        </p:sp>
      </p:grpSp>
      <p:sp>
        <p:nvSpPr>
          <p:cNvPr id="32" name="TextBox 147"/>
          <p:cNvSpPr txBox="1">
            <a:spLocks noChangeArrowheads="1"/>
          </p:cNvSpPr>
          <p:nvPr/>
        </p:nvSpPr>
        <p:spPr bwMode="auto">
          <a:xfrm>
            <a:off x="5151437" y="2103437"/>
            <a:ext cx="106203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2813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文本</a:t>
            </a:r>
          </a:p>
        </p:txBody>
      </p:sp>
      <p:grpSp>
        <p:nvGrpSpPr>
          <p:cNvPr id="33" name="组合 34"/>
          <p:cNvGrpSpPr>
            <a:grpSpLocks noChangeAspect="1"/>
          </p:cNvGrpSpPr>
          <p:nvPr/>
        </p:nvGrpSpPr>
        <p:grpSpPr bwMode="auto">
          <a:xfrm>
            <a:off x="5178425" y="3106737"/>
            <a:ext cx="1008062" cy="1008063"/>
            <a:chOff x="4776637" y="4404800"/>
            <a:chExt cx="1011863" cy="1008000"/>
          </a:xfrm>
        </p:grpSpPr>
        <p:sp>
          <p:nvSpPr>
            <p:cNvPr id="34" name="Oval 2"/>
            <p:cNvSpPr>
              <a:spLocks noChangeAspect="1" noChangeArrowheads="1"/>
            </p:cNvSpPr>
            <p:nvPr/>
          </p:nvSpPr>
          <p:spPr bwMode="auto">
            <a:xfrm>
              <a:off x="4780500" y="4404800"/>
              <a:ext cx="1008000" cy="100800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fr-FR" altLang="zh-CN" sz="16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5" name="椭圆 34"/>
            <p:cNvSpPr>
              <a:spLocks/>
            </p:cNvSpPr>
            <p:nvPr/>
          </p:nvSpPr>
          <p:spPr>
            <a:xfrm rot="19388639">
              <a:off x="4776637" y="4463534"/>
              <a:ext cx="683605" cy="466696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 dirty="0">
                <a:solidFill>
                  <a:schemeClr val="tx1"/>
                </a:solidFill>
                <a:ea typeface="微软雅黑" pitchFamily="34" charset="-122"/>
              </a:endParaRPr>
            </a:p>
          </p:txBody>
        </p:sp>
        <p:sp>
          <p:nvSpPr>
            <p:cNvPr id="36" name="椭圆 35"/>
            <p:cNvSpPr>
              <a:spLocks noChangeAspect="1"/>
            </p:cNvSpPr>
            <p:nvPr/>
          </p:nvSpPr>
          <p:spPr>
            <a:xfrm>
              <a:off x="4888500" y="4512800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FFC000">
                    <a:alpha val="6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7" name="TextBox 147"/>
          <p:cNvSpPr txBox="1">
            <a:spLocks noChangeArrowheads="1"/>
          </p:cNvSpPr>
          <p:nvPr/>
        </p:nvSpPr>
        <p:spPr bwMode="auto">
          <a:xfrm>
            <a:off x="5151437" y="3457575"/>
            <a:ext cx="106203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2813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文本</a:t>
            </a:r>
          </a:p>
        </p:txBody>
      </p:sp>
      <p:grpSp>
        <p:nvGrpSpPr>
          <p:cNvPr id="38" name="组合 34"/>
          <p:cNvGrpSpPr>
            <a:grpSpLocks noChangeAspect="1"/>
          </p:cNvGrpSpPr>
          <p:nvPr/>
        </p:nvGrpSpPr>
        <p:grpSpPr bwMode="auto">
          <a:xfrm>
            <a:off x="5178425" y="4464050"/>
            <a:ext cx="1008062" cy="1008062"/>
            <a:chOff x="4776637" y="4404800"/>
            <a:chExt cx="1011863" cy="1008000"/>
          </a:xfrm>
        </p:grpSpPr>
        <p:sp>
          <p:nvSpPr>
            <p:cNvPr id="39" name="Oval 2"/>
            <p:cNvSpPr>
              <a:spLocks noChangeAspect="1" noChangeArrowheads="1"/>
            </p:cNvSpPr>
            <p:nvPr/>
          </p:nvSpPr>
          <p:spPr bwMode="auto">
            <a:xfrm>
              <a:off x="4780500" y="4404800"/>
              <a:ext cx="1008000" cy="100800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0" name="椭圆 39"/>
            <p:cNvSpPr>
              <a:spLocks/>
            </p:cNvSpPr>
            <p:nvPr/>
          </p:nvSpPr>
          <p:spPr>
            <a:xfrm rot="19388639">
              <a:off x="4776637" y="4463533"/>
              <a:ext cx="683605" cy="466696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 dirty="0">
                <a:solidFill>
                  <a:srgbClr val="FFFFFF"/>
                </a:solidFill>
                <a:ea typeface="微软雅黑" pitchFamily="34" charset="-122"/>
              </a:endParaRPr>
            </a:p>
          </p:txBody>
        </p:sp>
        <p:sp>
          <p:nvSpPr>
            <p:cNvPr id="41" name="椭圆 40"/>
            <p:cNvSpPr>
              <a:spLocks noChangeAspect="1"/>
            </p:cNvSpPr>
            <p:nvPr/>
          </p:nvSpPr>
          <p:spPr>
            <a:xfrm>
              <a:off x="4888500" y="4512800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FFC000">
                    <a:alpha val="6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/>
            </a:p>
          </p:txBody>
        </p:sp>
      </p:grpSp>
      <p:sp>
        <p:nvSpPr>
          <p:cNvPr id="42" name="TextBox 147"/>
          <p:cNvSpPr txBox="1">
            <a:spLocks noChangeArrowheads="1"/>
          </p:cNvSpPr>
          <p:nvPr/>
        </p:nvSpPr>
        <p:spPr bwMode="auto">
          <a:xfrm>
            <a:off x="5151437" y="4813300"/>
            <a:ext cx="106203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2813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文本</a:t>
            </a:r>
          </a:p>
        </p:txBody>
      </p:sp>
      <p:sp>
        <p:nvSpPr>
          <p:cNvPr id="43" name="矩形 87"/>
          <p:cNvSpPr>
            <a:spLocks noChangeArrowheads="1"/>
          </p:cNvSpPr>
          <p:nvPr/>
        </p:nvSpPr>
        <p:spPr bwMode="auto">
          <a:xfrm>
            <a:off x="6335712" y="1811337"/>
            <a:ext cx="15652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" name="矩形 87"/>
          <p:cNvSpPr>
            <a:spLocks noChangeArrowheads="1"/>
          </p:cNvSpPr>
          <p:nvPr/>
        </p:nvSpPr>
        <p:spPr bwMode="auto">
          <a:xfrm>
            <a:off x="6335712" y="2112962"/>
            <a:ext cx="15652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5" name="矩形 87"/>
          <p:cNvSpPr>
            <a:spLocks noChangeArrowheads="1"/>
          </p:cNvSpPr>
          <p:nvPr/>
        </p:nvSpPr>
        <p:spPr bwMode="auto">
          <a:xfrm>
            <a:off x="6335712" y="2414587"/>
            <a:ext cx="150653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6" name="AutoShape 60"/>
          <p:cNvSpPr>
            <a:spLocks noChangeArrowheads="1"/>
          </p:cNvSpPr>
          <p:nvPr/>
        </p:nvSpPr>
        <p:spPr bwMode="auto">
          <a:xfrm>
            <a:off x="1170678" y="2286000"/>
            <a:ext cx="3780000" cy="2667000"/>
          </a:xfrm>
          <a:prstGeom prst="rightArrow">
            <a:avLst>
              <a:gd name="adj1" fmla="val 68039"/>
              <a:gd name="adj2" fmla="val 41129"/>
            </a:avLst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" name="矩形 14"/>
          <p:cNvSpPr>
            <a:spLocks noChangeArrowheads="1"/>
          </p:cNvSpPr>
          <p:nvPr/>
        </p:nvSpPr>
        <p:spPr bwMode="auto">
          <a:xfrm>
            <a:off x="3692510" y="3374806"/>
            <a:ext cx="127317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kumimoji="1" lang="zh-CN" altLang="en-US" sz="1400" dirty="0">
                <a:latin typeface="微软雅黑" pitchFamily="34" charset="-122"/>
                <a:ea typeface="微软雅黑" pitchFamily="34" charset="-122"/>
              </a:rPr>
              <a:t>点击添</a:t>
            </a:r>
            <a:endParaRPr kumimoji="1" lang="en-US" altLang="zh-CN" sz="1400" dirty="0"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kumimoji="1" lang="zh-CN" altLang="en-US" sz="1400" dirty="0">
                <a:latin typeface="微软雅黑" pitchFamily="34" charset="-122"/>
                <a:ea typeface="微软雅黑" pitchFamily="34" charset="-122"/>
              </a:rPr>
              <a:t>加文本</a:t>
            </a:r>
          </a:p>
        </p:txBody>
      </p:sp>
      <p:grpSp>
        <p:nvGrpSpPr>
          <p:cNvPr id="52" name="组合 26"/>
          <p:cNvGrpSpPr>
            <a:grpSpLocks noChangeAspect="1"/>
          </p:cNvGrpSpPr>
          <p:nvPr/>
        </p:nvGrpSpPr>
        <p:grpSpPr bwMode="auto">
          <a:xfrm>
            <a:off x="3005137" y="3181350"/>
            <a:ext cx="884238" cy="896937"/>
            <a:chOff x="1321939" y="2463785"/>
            <a:chExt cx="415318" cy="2705673"/>
          </a:xfrm>
        </p:grpSpPr>
        <p:sp>
          <p:nvSpPr>
            <p:cNvPr id="53" name="圆角矩形 52"/>
            <p:cNvSpPr/>
            <p:nvPr/>
          </p:nvSpPr>
          <p:spPr>
            <a:xfrm>
              <a:off x="1321939" y="2463785"/>
              <a:ext cx="415318" cy="2705673"/>
            </a:xfrm>
            <a:prstGeom prst="roundRect">
              <a:avLst>
                <a:gd name="adj" fmla="val 10568"/>
              </a:avLst>
            </a:prstGeom>
            <a:gradFill flip="none" rotWithShape="1">
              <a:gsLst>
                <a:gs pos="0">
                  <a:srgbClr val="00DFF6"/>
                </a:gs>
                <a:gs pos="90000">
                  <a:srgbClr val="002774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4" name="矩形 14"/>
            <p:cNvSpPr>
              <a:spLocks noChangeArrowheads="1"/>
            </p:cNvSpPr>
            <p:nvPr/>
          </p:nvSpPr>
          <p:spPr bwMode="auto">
            <a:xfrm>
              <a:off x="1329654" y="2934457"/>
              <a:ext cx="399887" cy="1764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29997" dir="5400000" sy="-100000" algn="bl" rotWithShape="0"/>
                  </a:effectLst>
                  <a:latin typeface="微软雅黑" pitchFamily="34" charset="-122"/>
                  <a:ea typeface="微软雅黑" pitchFamily="34" charset="-122"/>
                </a:rPr>
                <a:t>添加</a:t>
              </a:r>
              <a:endParaRPr kumimoji="1" lang="en-US" altLang="zh-CN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itchFamily="34" charset="-122"/>
                <a:ea typeface="微软雅黑" pitchFamily="34" charset="-122"/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29997" dir="5400000" sy="-100000" algn="bl" rotWithShape="0"/>
                  </a:effectLst>
                  <a:latin typeface="微软雅黑" pitchFamily="34" charset="-122"/>
                  <a:ea typeface="微软雅黑" pitchFamily="34" charset="-122"/>
                </a:rPr>
                <a:t>标题</a:t>
              </a:r>
            </a:p>
          </p:txBody>
        </p:sp>
      </p:grpSp>
      <p:sp>
        <p:nvSpPr>
          <p:cNvPr id="57" name="矩形 87"/>
          <p:cNvSpPr>
            <a:spLocks noChangeArrowheads="1"/>
          </p:cNvSpPr>
          <p:nvPr/>
        </p:nvSpPr>
        <p:spPr bwMode="auto">
          <a:xfrm>
            <a:off x="6359525" y="3124200"/>
            <a:ext cx="1565275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eaLnBrk="0" fontAlgn="ctr" hangingPunct="0">
              <a:buClr>
                <a:srgbClr val="FF0000"/>
              </a:buClr>
              <a:buSzPct val="70000"/>
            </a:pP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8" name="矩形 87"/>
          <p:cNvSpPr>
            <a:spLocks noChangeArrowheads="1"/>
          </p:cNvSpPr>
          <p:nvPr/>
        </p:nvSpPr>
        <p:spPr bwMode="auto">
          <a:xfrm>
            <a:off x="6359525" y="3425825"/>
            <a:ext cx="15652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eaLnBrk="0" fontAlgn="ctr" hangingPunct="0">
              <a:buClr>
                <a:srgbClr val="FF0000"/>
              </a:buClr>
              <a:buSzPct val="70000"/>
            </a:pP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9" name="矩形 87"/>
          <p:cNvSpPr>
            <a:spLocks noChangeArrowheads="1"/>
          </p:cNvSpPr>
          <p:nvPr/>
        </p:nvSpPr>
        <p:spPr bwMode="auto">
          <a:xfrm>
            <a:off x="6359525" y="3727450"/>
            <a:ext cx="15065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eaLnBrk="0" fontAlgn="ctr" hangingPunct="0">
              <a:buClr>
                <a:srgbClr val="FF0000"/>
              </a:buClr>
              <a:buSzPct val="70000"/>
            </a:pP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2" name="矩形 87"/>
          <p:cNvSpPr>
            <a:spLocks noChangeArrowheads="1"/>
          </p:cNvSpPr>
          <p:nvPr/>
        </p:nvSpPr>
        <p:spPr bwMode="auto">
          <a:xfrm>
            <a:off x="6359525" y="4538662"/>
            <a:ext cx="15652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eaLnBrk="0" fontAlgn="ctr" hangingPunct="0">
              <a:buClr>
                <a:srgbClr val="FF0000"/>
              </a:buClr>
              <a:buSzPct val="70000"/>
            </a:pP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3" name="矩形 87"/>
          <p:cNvSpPr>
            <a:spLocks noChangeArrowheads="1"/>
          </p:cNvSpPr>
          <p:nvPr/>
        </p:nvSpPr>
        <p:spPr bwMode="auto">
          <a:xfrm>
            <a:off x="6359525" y="4840287"/>
            <a:ext cx="15652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eaLnBrk="0" fontAlgn="ctr" hangingPunct="0">
              <a:buClr>
                <a:srgbClr val="FF0000"/>
              </a:buClr>
              <a:buSzPct val="70000"/>
            </a:pP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4" name="矩形 87"/>
          <p:cNvSpPr>
            <a:spLocks noChangeArrowheads="1"/>
          </p:cNvSpPr>
          <p:nvPr/>
        </p:nvSpPr>
        <p:spPr bwMode="auto">
          <a:xfrm>
            <a:off x="6359525" y="5141912"/>
            <a:ext cx="15065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eaLnBrk="0" fontAlgn="ctr" hangingPunct="0">
              <a:buClr>
                <a:srgbClr val="FF0000"/>
              </a:buClr>
              <a:buSzPct val="70000"/>
            </a:pP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8" name="AutoShape 593"/>
          <p:cNvSpPr>
            <a:spLocks noChangeArrowheads="1"/>
          </p:cNvSpPr>
          <p:nvPr/>
        </p:nvSpPr>
        <p:spPr bwMode="auto">
          <a:xfrm rot="10800000" flipH="1" flipV="1">
            <a:off x="2496425" y="3475403"/>
            <a:ext cx="396000" cy="360000"/>
          </a:xfrm>
          <a:prstGeom prst="chevron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49" name="组合 26"/>
          <p:cNvGrpSpPr>
            <a:grpSpLocks noChangeAspect="1"/>
          </p:cNvGrpSpPr>
          <p:nvPr/>
        </p:nvGrpSpPr>
        <p:grpSpPr bwMode="auto">
          <a:xfrm>
            <a:off x="1550988" y="3181350"/>
            <a:ext cx="884237" cy="896937"/>
            <a:chOff x="1317289" y="2463785"/>
            <a:chExt cx="415318" cy="2705673"/>
          </a:xfrm>
        </p:grpSpPr>
        <p:sp>
          <p:nvSpPr>
            <p:cNvPr id="50" name="圆角矩形 49"/>
            <p:cNvSpPr/>
            <p:nvPr/>
          </p:nvSpPr>
          <p:spPr>
            <a:xfrm>
              <a:off x="1317289" y="2463785"/>
              <a:ext cx="415318" cy="2705673"/>
            </a:xfrm>
            <a:prstGeom prst="roundRect">
              <a:avLst>
                <a:gd name="adj" fmla="val 10568"/>
              </a:avLst>
            </a:prstGeom>
            <a:gradFill flip="none" rotWithShape="1">
              <a:gsLst>
                <a:gs pos="0">
                  <a:srgbClr val="00DFF6"/>
                </a:gs>
                <a:gs pos="90000">
                  <a:srgbClr val="002774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1" name="矩形 14"/>
            <p:cNvSpPr>
              <a:spLocks noChangeArrowheads="1"/>
            </p:cNvSpPr>
            <p:nvPr/>
          </p:nvSpPr>
          <p:spPr bwMode="auto">
            <a:xfrm>
              <a:off x="1325004" y="2934457"/>
              <a:ext cx="399887" cy="1764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29997" dir="5400000" sy="-100000" algn="bl" rotWithShape="0"/>
                  </a:effectLst>
                  <a:latin typeface="微软雅黑" pitchFamily="34" charset="-122"/>
                  <a:ea typeface="微软雅黑" pitchFamily="34" charset="-122"/>
                </a:rPr>
                <a:t>添加</a:t>
              </a:r>
              <a:endParaRPr kumimoji="1" lang="en-US" altLang="zh-CN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itchFamily="34" charset="-122"/>
                <a:ea typeface="微软雅黑" pitchFamily="34" charset="-122"/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29997" dir="5400000" sy="-100000" algn="bl" rotWithShape="0"/>
                  </a:effectLst>
                  <a:latin typeface="微软雅黑" pitchFamily="34" charset="-122"/>
                  <a:ea typeface="微软雅黑" pitchFamily="34" charset="-122"/>
                </a:rPr>
                <a:t>标题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500"/>
                            </p:stCondLst>
                            <p:childTnLst>
                              <p:par>
                                <p:cTn id="42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000"/>
                            </p:stCondLst>
                            <p:childTnLst>
                              <p:par>
                                <p:cTn id="47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4500"/>
                            </p:stCondLst>
                            <p:childTnLst>
                              <p:par>
                                <p:cTn id="52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000"/>
                            </p:stCondLst>
                            <p:childTnLst>
                              <p:par>
                                <p:cTn id="57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500"/>
                            </p:stCondLst>
                            <p:childTnLst>
                              <p:par>
                                <p:cTn id="6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6000"/>
                            </p:stCondLst>
                            <p:childTnLst>
                              <p:par>
                                <p:cTn id="6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6500"/>
                            </p:stCondLst>
                            <p:childTnLst>
                              <p:par>
                                <p:cTn id="7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7000"/>
                            </p:stCondLst>
                            <p:childTnLst>
                              <p:par>
                                <p:cTn id="7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7500"/>
                            </p:stCondLst>
                            <p:childTnLst>
                              <p:par>
                                <p:cTn id="84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8000"/>
                            </p:stCondLst>
                            <p:childTnLst>
                              <p:par>
                                <p:cTn id="8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8500"/>
                            </p:stCondLst>
                            <p:childTnLst>
                              <p:par>
                                <p:cTn id="9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9000"/>
                            </p:stCondLst>
                            <p:childTnLst>
                              <p:par>
                                <p:cTn id="101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9500"/>
                            </p:stCondLst>
                            <p:childTnLst>
                              <p:par>
                                <p:cTn id="10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37" grpId="0"/>
      <p:bldP spid="42" grpId="0"/>
      <p:bldP spid="43" grpId="0"/>
      <p:bldP spid="44" grpId="0"/>
      <p:bldP spid="45" grpId="0"/>
      <p:bldP spid="46" grpId="0" animBg="1"/>
      <p:bldP spid="47" grpId="0"/>
      <p:bldP spid="57" grpId="0"/>
      <p:bldP spid="58" grpId="0"/>
      <p:bldP spid="59" grpId="0"/>
      <p:bldP spid="62" grpId="0"/>
      <p:bldP spid="63" grpId="0"/>
      <p:bldP spid="64" grpId="0"/>
      <p:bldP spid="48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 bwMode="auto">
          <a:xfrm>
            <a:off x="3823100" y="1524000"/>
            <a:ext cx="1512000" cy="576000"/>
          </a:xfrm>
          <a:prstGeom prst="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分标题一</a:t>
            </a:r>
          </a:p>
        </p:txBody>
      </p:sp>
      <p:sp>
        <p:nvSpPr>
          <p:cNvPr id="15" name="Oval 9"/>
          <p:cNvSpPr>
            <a:spLocks noChangeAspect="1" noChangeArrowheads="1"/>
          </p:cNvSpPr>
          <p:nvPr/>
        </p:nvSpPr>
        <p:spPr bwMode="gray">
          <a:xfrm>
            <a:off x="2959100" y="2449646"/>
            <a:ext cx="3240000" cy="3240000"/>
          </a:xfrm>
          <a:prstGeom prst="donut">
            <a:avLst>
              <a:gd name="adj" fmla="val 6787"/>
            </a:avLst>
          </a:prstGeom>
          <a:solidFill>
            <a:schemeClr val="bg1">
              <a:lumMod val="65000"/>
              <a:alpha val="40000"/>
            </a:schemeClr>
          </a:solidFill>
          <a:ln w="19050">
            <a:solidFill>
              <a:schemeClr val="bg1">
                <a:alpha val="70000"/>
              </a:schemeClr>
            </a:solidFill>
          </a:ln>
          <a:effectLst>
            <a:outerShdw blurRad="76200" dir="2700000" algn="tl" rotWithShape="0">
              <a:prstClr val="black">
                <a:alpha val="30000"/>
              </a:prstClr>
            </a:outerShdw>
          </a:effectLst>
          <a:sp3d contourW="12700" prstMaterial="plastic">
            <a:bevelT w="82550" h="101600" prst="convex"/>
            <a:contourClr>
              <a:schemeClr val="tx2">
                <a:lumMod val="75000"/>
              </a:schemeClr>
            </a:contourClr>
          </a:sp3d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dirty="0"/>
          </a:p>
        </p:txBody>
      </p:sp>
      <p:sp>
        <p:nvSpPr>
          <p:cNvPr id="17" name="椭圆 16"/>
          <p:cNvSpPr/>
          <p:nvPr/>
        </p:nvSpPr>
        <p:spPr bwMode="auto">
          <a:xfrm>
            <a:off x="3678238" y="3168894"/>
            <a:ext cx="1800225" cy="1800225"/>
          </a:xfrm>
          <a:prstGeom prst="ellipse">
            <a:avLst/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flat" dir="t"/>
          </a:scene3d>
          <a:sp3d contourW="25400" prstMaterial="plastic">
            <a:bevelT w="241300" h="254000" prst="divot"/>
            <a:contourClr>
              <a:srgbClr val="AFEAFF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defTabSz="912813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椭圆 17"/>
          <p:cNvSpPr/>
          <p:nvPr/>
        </p:nvSpPr>
        <p:spPr bwMode="auto">
          <a:xfrm>
            <a:off x="3997934" y="3488590"/>
            <a:ext cx="1160832" cy="1160832"/>
          </a:xfrm>
          <a:prstGeom prst="ellipse">
            <a:avLst/>
          </a:prstGeom>
          <a:gradFill rotWithShape="1">
            <a:gsLst>
              <a:gs pos="0">
                <a:schemeClr val="bg2">
                  <a:gamma/>
                  <a:tint val="0"/>
                  <a:invGamma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 w="158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flat" dir="t"/>
          </a:scene3d>
          <a:sp3d prstMaterial="metal">
            <a:bevelT w="101600"/>
          </a:sp3d>
        </p:spPr>
        <p:txBody>
          <a:bodyPr wrap="none" anchor="ctr"/>
          <a:lstStyle/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SzPct val="80000"/>
              <a:defRPr/>
            </a:pP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" name="Freeform 6"/>
          <p:cNvSpPr>
            <a:spLocks/>
          </p:cNvSpPr>
          <p:nvPr/>
        </p:nvSpPr>
        <p:spPr bwMode="auto">
          <a:xfrm rot="10800000">
            <a:off x="4197830" y="2218208"/>
            <a:ext cx="759704" cy="1262835"/>
          </a:xfrm>
          <a:custGeom>
            <a:avLst/>
            <a:gdLst/>
            <a:ahLst/>
            <a:cxnLst>
              <a:cxn ang="0">
                <a:pos x="152" y="0"/>
              </a:cxn>
              <a:cxn ang="0">
                <a:pos x="304" y="362"/>
              </a:cxn>
              <a:cxn ang="0">
                <a:pos x="206" y="321"/>
              </a:cxn>
              <a:cxn ang="0">
                <a:pos x="185" y="680"/>
              </a:cxn>
              <a:cxn ang="0">
                <a:pos x="119" y="680"/>
              </a:cxn>
              <a:cxn ang="0">
                <a:pos x="98" y="321"/>
              </a:cxn>
              <a:cxn ang="0">
                <a:pos x="0" y="362"/>
              </a:cxn>
              <a:cxn ang="0">
                <a:pos x="152" y="0"/>
              </a:cxn>
            </a:cxnLst>
            <a:rect l="0" t="0" r="r" b="b"/>
            <a:pathLst>
              <a:path w="304" h="680">
                <a:moveTo>
                  <a:pt x="152" y="0"/>
                </a:moveTo>
                <a:lnTo>
                  <a:pt x="304" y="362"/>
                </a:lnTo>
                <a:lnTo>
                  <a:pt x="206" y="321"/>
                </a:lnTo>
                <a:lnTo>
                  <a:pt x="185" y="680"/>
                </a:lnTo>
                <a:lnTo>
                  <a:pt x="119" y="680"/>
                </a:lnTo>
                <a:lnTo>
                  <a:pt x="98" y="321"/>
                </a:lnTo>
                <a:lnTo>
                  <a:pt x="0" y="362"/>
                </a:lnTo>
                <a:lnTo>
                  <a:pt x="152" y="0"/>
                </a:lnTo>
                <a:close/>
              </a:path>
            </a:pathLst>
          </a:cu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FFCF01"/>
                </a:gs>
                <a:gs pos="100000">
                  <a:srgbClr val="E22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divot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" name="Freeform 6"/>
          <p:cNvSpPr>
            <a:spLocks/>
          </p:cNvSpPr>
          <p:nvPr/>
        </p:nvSpPr>
        <p:spPr bwMode="auto">
          <a:xfrm rot="3600000">
            <a:off x="3104795" y="4027908"/>
            <a:ext cx="759647" cy="1262929"/>
          </a:xfrm>
          <a:custGeom>
            <a:avLst/>
            <a:gdLst/>
            <a:ahLst/>
            <a:cxnLst>
              <a:cxn ang="0">
                <a:pos x="152" y="0"/>
              </a:cxn>
              <a:cxn ang="0">
                <a:pos x="304" y="362"/>
              </a:cxn>
              <a:cxn ang="0">
                <a:pos x="206" y="321"/>
              </a:cxn>
              <a:cxn ang="0">
                <a:pos x="185" y="680"/>
              </a:cxn>
              <a:cxn ang="0">
                <a:pos x="119" y="680"/>
              </a:cxn>
              <a:cxn ang="0">
                <a:pos x="98" y="321"/>
              </a:cxn>
              <a:cxn ang="0">
                <a:pos x="0" y="362"/>
              </a:cxn>
              <a:cxn ang="0">
                <a:pos x="152" y="0"/>
              </a:cxn>
            </a:cxnLst>
            <a:rect l="0" t="0" r="r" b="b"/>
            <a:pathLst>
              <a:path w="304" h="680">
                <a:moveTo>
                  <a:pt x="152" y="0"/>
                </a:moveTo>
                <a:lnTo>
                  <a:pt x="304" y="362"/>
                </a:lnTo>
                <a:lnTo>
                  <a:pt x="206" y="321"/>
                </a:lnTo>
                <a:lnTo>
                  <a:pt x="185" y="680"/>
                </a:lnTo>
                <a:lnTo>
                  <a:pt x="119" y="680"/>
                </a:lnTo>
                <a:lnTo>
                  <a:pt x="98" y="321"/>
                </a:lnTo>
                <a:lnTo>
                  <a:pt x="0" y="362"/>
                </a:lnTo>
                <a:lnTo>
                  <a:pt x="152" y="0"/>
                </a:lnTo>
                <a:close/>
              </a:path>
            </a:pathLst>
          </a:cu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FFCF01"/>
                </a:gs>
                <a:gs pos="100000">
                  <a:srgbClr val="E22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divot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" name="Freeform 6"/>
          <p:cNvSpPr>
            <a:spLocks/>
          </p:cNvSpPr>
          <p:nvPr/>
        </p:nvSpPr>
        <p:spPr bwMode="auto">
          <a:xfrm rot="18000000">
            <a:off x="5290922" y="4027908"/>
            <a:ext cx="759647" cy="1262929"/>
          </a:xfrm>
          <a:custGeom>
            <a:avLst/>
            <a:gdLst/>
            <a:ahLst/>
            <a:cxnLst>
              <a:cxn ang="0">
                <a:pos x="152" y="0"/>
              </a:cxn>
              <a:cxn ang="0">
                <a:pos x="304" y="362"/>
              </a:cxn>
              <a:cxn ang="0">
                <a:pos x="206" y="321"/>
              </a:cxn>
              <a:cxn ang="0">
                <a:pos x="185" y="680"/>
              </a:cxn>
              <a:cxn ang="0">
                <a:pos x="119" y="680"/>
              </a:cxn>
              <a:cxn ang="0">
                <a:pos x="98" y="321"/>
              </a:cxn>
              <a:cxn ang="0">
                <a:pos x="0" y="362"/>
              </a:cxn>
              <a:cxn ang="0">
                <a:pos x="152" y="0"/>
              </a:cxn>
            </a:cxnLst>
            <a:rect l="0" t="0" r="r" b="b"/>
            <a:pathLst>
              <a:path w="304" h="680">
                <a:moveTo>
                  <a:pt x="152" y="0"/>
                </a:moveTo>
                <a:lnTo>
                  <a:pt x="304" y="362"/>
                </a:lnTo>
                <a:lnTo>
                  <a:pt x="206" y="321"/>
                </a:lnTo>
                <a:lnTo>
                  <a:pt x="185" y="680"/>
                </a:lnTo>
                <a:lnTo>
                  <a:pt x="119" y="680"/>
                </a:lnTo>
                <a:lnTo>
                  <a:pt x="98" y="321"/>
                </a:lnTo>
                <a:lnTo>
                  <a:pt x="0" y="362"/>
                </a:lnTo>
                <a:lnTo>
                  <a:pt x="152" y="0"/>
                </a:lnTo>
                <a:close/>
              </a:path>
            </a:pathLst>
          </a:custGeom>
          <a:solidFill>
            <a:schemeClr val="bg1">
              <a:alpha val="65000"/>
            </a:schemeClr>
          </a:solidFill>
          <a:ln w="38100">
            <a:gradFill>
              <a:gsLst>
                <a:gs pos="50000">
                  <a:srgbClr val="FFCF01"/>
                </a:gs>
                <a:gs pos="100000">
                  <a:srgbClr val="E22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divot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矩形 22"/>
          <p:cNvSpPr/>
          <p:nvPr/>
        </p:nvSpPr>
        <p:spPr bwMode="auto">
          <a:xfrm>
            <a:off x="6348719" y="4681993"/>
            <a:ext cx="1512000" cy="576000"/>
          </a:xfrm>
          <a:prstGeom prst="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分标题二</a:t>
            </a:r>
          </a:p>
        </p:txBody>
      </p:sp>
      <p:sp>
        <p:nvSpPr>
          <p:cNvPr id="24" name="矩形 23"/>
          <p:cNvSpPr/>
          <p:nvPr/>
        </p:nvSpPr>
        <p:spPr bwMode="auto">
          <a:xfrm>
            <a:off x="1297646" y="4681993"/>
            <a:ext cx="1512000" cy="576000"/>
          </a:xfrm>
          <a:prstGeom prst="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分标题三</a:t>
            </a: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" name="Text Box 38"/>
          <p:cNvSpPr txBox="1">
            <a:spLocks noChangeArrowheads="1"/>
          </p:cNvSpPr>
          <p:nvPr/>
        </p:nvSpPr>
        <p:spPr bwMode="auto">
          <a:xfrm>
            <a:off x="4012734" y="3708446"/>
            <a:ext cx="1178072" cy="70788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20000"/>
              <a:defRPr/>
            </a:pPr>
            <a:r>
              <a:rPr lang="zh-CN" altLang="en-US" sz="2000" b="1" spc="300" dirty="0">
                <a:ln w="1270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rgbClr val="00B0F0"/>
                    </a:gs>
                    <a:gs pos="75000">
                      <a:srgbClr val="002774"/>
                    </a:gs>
                  </a:gsLst>
                  <a:lin ang="5400000"/>
                </a:gradFill>
                <a:effectLst>
                  <a:glow rad="45500">
                    <a:srgbClr val="00B0F0">
                      <a:alpha val="35000"/>
                    </a:srgbClr>
                  </a:glow>
                </a:effectLst>
                <a:latin typeface="微软雅黑" pitchFamily="34" charset="-122"/>
                <a:ea typeface="微软雅黑" pitchFamily="34" charset="-122"/>
              </a:rPr>
              <a:t>添加</a:t>
            </a:r>
            <a:endParaRPr lang="en-US" altLang="zh-CN" sz="2000" b="1" spc="300" dirty="0">
              <a:ln w="1270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rgbClr val="00B0F0"/>
                  </a:gs>
                  <a:gs pos="75000">
                    <a:srgbClr val="002774"/>
                  </a:gs>
                </a:gsLst>
                <a:lin ang="5400000"/>
              </a:gradFill>
              <a:effectLst>
                <a:glow rad="45500">
                  <a:srgbClr val="00B0F0">
                    <a:alpha val="35000"/>
                  </a:srgbClr>
                </a:glow>
              </a:effectLst>
              <a:latin typeface="微软雅黑" pitchFamily="34" charset="-122"/>
              <a:ea typeface="微软雅黑" pitchFamily="34" charset="-122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20000"/>
              <a:defRPr/>
            </a:pPr>
            <a:r>
              <a:rPr lang="zh-CN" altLang="en-US" sz="2000" b="1" spc="300" dirty="0">
                <a:ln w="1270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rgbClr val="00B0F0"/>
                    </a:gs>
                    <a:gs pos="75000">
                      <a:srgbClr val="002774"/>
                    </a:gs>
                  </a:gsLst>
                  <a:lin ang="5400000"/>
                </a:gradFill>
                <a:effectLst>
                  <a:glow rad="45500">
                    <a:srgbClr val="00B0F0">
                      <a:alpha val="35000"/>
                    </a:srgbClr>
                  </a:glow>
                </a:effectLst>
                <a:latin typeface="微软雅黑" pitchFamily="34" charset="-122"/>
                <a:ea typeface="微软雅黑" pitchFamily="34" charset="-122"/>
              </a:rPr>
              <a:t>标题</a:t>
            </a:r>
            <a:endParaRPr lang="en-US" altLang="zh-CN" sz="2000" b="1" spc="300" dirty="0">
              <a:ln w="1270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rgbClr val="00B0F0"/>
                  </a:gs>
                  <a:gs pos="75000">
                    <a:srgbClr val="002774"/>
                  </a:gs>
                </a:gsLst>
                <a:lin ang="5400000"/>
              </a:gradFill>
              <a:effectLst>
                <a:glow rad="45500">
                  <a:srgbClr val="00B0F0">
                    <a:alpha val="35000"/>
                  </a:srgbClr>
                </a:glow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矩形 87"/>
          <p:cNvSpPr>
            <a:spLocks noChangeArrowheads="1"/>
          </p:cNvSpPr>
          <p:nvPr/>
        </p:nvSpPr>
        <p:spPr bwMode="auto">
          <a:xfrm>
            <a:off x="5554211" y="1617490"/>
            <a:ext cx="1565275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点击添加文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本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algn="l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" name="矩形 87"/>
          <p:cNvSpPr>
            <a:spLocks noChangeArrowheads="1"/>
          </p:cNvSpPr>
          <p:nvPr/>
        </p:nvSpPr>
        <p:spPr bwMode="auto">
          <a:xfrm>
            <a:off x="6553200" y="4013246"/>
            <a:ext cx="1565275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点击添加文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本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algn="l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矩形 87"/>
          <p:cNvSpPr>
            <a:spLocks noChangeArrowheads="1"/>
          </p:cNvSpPr>
          <p:nvPr/>
        </p:nvSpPr>
        <p:spPr bwMode="auto">
          <a:xfrm>
            <a:off x="1295400" y="4013246"/>
            <a:ext cx="150653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点击添加文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本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algn="l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900" decel="100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000"/>
                            </p:stCondLst>
                            <p:childTnLst>
                              <p:par>
                                <p:cTn id="2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0"/>
                            </p:stCondLst>
                            <p:childTnLst>
                              <p:par>
                                <p:cTn id="27" presetID="23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500"/>
                            </p:stCondLst>
                            <p:childTnLst>
                              <p:par>
                                <p:cTn id="32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3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6000"/>
                            </p:stCondLst>
                            <p:childTnLst>
                              <p:par>
                                <p:cTn id="36" presetID="23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500"/>
                            </p:stCondLst>
                            <p:childTnLst>
                              <p:par>
                                <p:cTn id="41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4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7000"/>
                            </p:stCondLst>
                            <p:childTnLst>
                              <p:par>
                                <p:cTn id="45" presetID="23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7500"/>
                            </p:stCondLst>
                            <p:childTnLst>
                              <p:par>
                                <p:cTn id="50" presetID="1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5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8000"/>
                            </p:stCondLst>
                            <p:childTnLst>
                              <p:par>
                                <p:cTn id="5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8500"/>
                            </p:stCondLst>
                            <p:childTnLst>
                              <p:par>
                                <p:cTn id="5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9000"/>
                            </p:stCondLst>
                            <p:childTnLst>
                              <p:par>
                                <p:cTn id="6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7" grpId="0" animBg="1"/>
      <p:bldP spid="18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34" grpId="0"/>
      <p:bldP spid="19" grpId="0"/>
      <p:bldP spid="25" grpId="0"/>
      <p:bldP spid="2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17"/>
          <p:cNvSpPr>
            <a:spLocks noChangeArrowheads="1"/>
          </p:cNvSpPr>
          <p:nvPr/>
        </p:nvSpPr>
        <p:spPr bwMode="gray">
          <a:xfrm>
            <a:off x="803875" y="2839451"/>
            <a:ext cx="7560000" cy="2628000"/>
          </a:xfrm>
          <a:prstGeom prst="roundRect">
            <a:avLst>
              <a:gd name="adj" fmla="val 3080"/>
            </a:avLst>
          </a:prstGeom>
          <a:gradFill flip="none" rotWithShape="1">
            <a:gsLst>
              <a:gs pos="0">
                <a:schemeClr val="bg1">
                  <a:lumMod val="65000"/>
                  <a:alpha val="50000"/>
                </a:schemeClr>
              </a:gs>
              <a:gs pos="100000">
                <a:schemeClr val="bg1">
                  <a:lumMod val="85000"/>
                  <a:alpha val="50000"/>
                </a:schemeClr>
              </a:gs>
            </a:gsLst>
            <a:lin ang="54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 fov="2700000">
              <a:rot lat="18000000" lon="0" rev="0"/>
            </a:camera>
            <a:lightRig rig="flat" dir="t"/>
          </a:scene3d>
          <a:sp3d extrusionH="127000" contourW="19050">
            <a:bevelT w="101600" prst="convex"/>
            <a:bevelB w="0" h="254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TextBox 27"/>
          <p:cNvSpPr txBox="1"/>
          <p:nvPr/>
        </p:nvSpPr>
        <p:spPr bwMode="auto">
          <a:xfrm>
            <a:off x="2683823" y="1727492"/>
            <a:ext cx="3776354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spc="300" dirty="0">
                <a:ln w="1270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rgbClr val="00B0F0"/>
                    </a:gs>
                    <a:gs pos="75000">
                      <a:srgbClr val="002774"/>
                    </a:gs>
                  </a:gsLst>
                  <a:lin ang="5400000"/>
                </a:gradFill>
                <a:effectLst>
                  <a:glow rad="45500">
                    <a:srgbClr val="00B0F0">
                      <a:alpha val="35000"/>
                    </a:srgbClr>
                  </a:glow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29" name="左箭头 28"/>
          <p:cNvSpPr/>
          <p:nvPr/>
        </p:nvSpPr>
        <p:spPr>
          <a:xfrm flipH="1">
            <a:off x="3837557" y="3292622"/>
            <a:ext cx="1620000" cy="1620000"/>
          </a:xfrm>
          <a:prstGeom prst="leftArrow">
            <a:avLst>
              <a:gd name="adj1" fmla="val 63711"/>
              <a:gd name="adj2" fmla="val 34802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>
              <a:rot lat="17973603" lon="0" rev="0"/>
            </a:camera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" name="环形箭头 29"/>
          <p:cNvSpPr>
            <a:spLocks noChangeAspect="1"/>
          </p:cNvSpPr>
          <p:nvPr/>
        </p:nvSpPr>
        <p:spPr bwMode="auto">
          <a:xfrm>
            <a:off x="5505073" y="2695134"/>
            <a:ext cx="2592000" cy="2592000"/>
          </a:xfrm>
          <a:prstGeom prst="circularArrow">
            <a:avLst>
              <a:gd name="adj1" fmla="val 8252"/>
              <a:gd name="adj2" fmla="val 956003"/>
              <a:gd name="adj3" fmla="val 1309246"/>
              <a:gd name="adj4" fmla="val 3031870"/>
              <a:gd name="adj5" fmla="val 7445"/>
            </a:avLst>
          </a:prstGeom>
          <a:gradFill>
            <a:gsLst>
              <a:gs pos="0">
                <a:srgbClr val="FFC000"/>
              </a:gs>
              <a:gs pos="90000">
                <a:srgbClr val="F03530"/>
              </a:gs>
            </a:gsLst>
            <a:lin ang="2700000" scaled="1"/>
          </a:gradFill>
          <a:ln>
            <a:noFill/>
          </a:ln>
          <a:effectLst>
            <a:outerShdw blurRad="50800" dist="38100" rotWithShape="0">
              <a:srgbClr val="000000">
                <a:alpha val="40000"/>
              </a:srgbClr>
            </a:outerShdw>
          </a:effectLst>
          <a:scene3d>
            <a:camera prst="perspectiveRelaxed">
              <a:rot lat="17673596" lon="0" rev="0"/>
            </a:camera>
            <a:lightRig rig="balanced" dir="t">
              <a:rot lat="0" lon="0" rev="11400000"/>
            </a:lightRig>
          </a:scene3d>
          <a:sp3d extrusionH="158750" contourW="12700" prstMaterial="plastic">
            <a:bevelT w="101600" prst="artDeco"/>
            <a:bevelB w="0" h="25400"/>
            <a:contourClr>
              <a:srgbClr val="FFFF8B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ea typeface="微软雅黑" pitchFamily="34" charset="-122"/>
            </a:endParaRPr>
          </a:p>
        </p:txBody>
      </p:sp>
      <p:sp>
        <p:nvSpPr>
          <p:cNvPr id="31" name="TextBox 24"/>
          <p:cNvSpPr txBox="1">
            <a:spLocks noChangeArrowheads="1"/>
          </p:cNvSpPr>
          <p:nvPr/>
        </p:nvSpPr>
        <p:spPr bwMode="auto">
          <a:xfrm>
            <a:off x="3844925" y="3987800"/>
            <a:ext cx="13525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递进说明</a:t>
            </a:r>
          </a:p>
        </p:txBody>
      </p:sp>
      <p:sp>
        <p:nvSpPr>
          <p:cNvPr id="32" name="环形箭头 31"/>
          <p:cNvSpPr>
            <a:spLocks noChangeAspect="1"/>
          </p:cNvSpPr>
          <p:nvPr/>
        </p:nvSpPr>
        <p:spPr bwMode="auto">
          <a:xfrm>
            <a:off x="1146766" y="2695134"/>
            <a:ext cx="2592000" cy="2592000"/>
          </a:xfrm>
          <a:prstGeom prst="circularArrow">
            <a:avLst>
              <a:gd name="adj1" fmla="val 7751"/>
              <a:gd name="adj2" fmla="val 910083"/>
              <a:gd name="adj3" fmla="val 1170549"/>
              <a:gd name="adj4" fmla="val 3031870"/>
              <a:gd name="adj5" fmla="val 7753"/>
            </a:avLst>
          </a:prstGeom>
          <a:gradFill>
            <a:gsLst>
              <a:gs pos="0">
                <a:srgbClr val="6EFF01"/>
              </a:gs>
              <a:gs pos="90000">
                <a:srgbClr val="0F5000"/>
              </a:gs>
            </a:gsLst>
            <a:lin ang="2700000" scaled="1"/>
          </a:gradFill>
          <a:ln>
            <a:noFill/>
          </a:ln>
          <a:effectLst>
            <a:outerShdw blurRad="50800" dist="38100" rotWithShape="0">
              <a:srgbClr val="000000">
                <a:alpha val="40000"/>
              </a:srgbClr>
            </a:outerShdw>
          </a:effectLst>
          <a:scene3d>
            <a:camera prst="perspectiveRelaxed">
              <a:rot lat="17673596" lon="0" rev="0"/>
            </a:camera>
            <a:lightRig rig="balanced" dir="t">
              <a:rot lat="0" lon="0" rev="11400000"/>
            </a:lightRig>
          </a:scene3d>
          <a:sp3d extrusionH="158750" contourW="12700" prstMaterial="plastic">
            <a:bevelT w="101600" prst="artDeco"/>
            <a:bevelB w="0" h="25400"/>
            <a:contourClr>
              <a:srgbClr val="89FF8C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ea typeface="微软雅黑" pitchFamily="34" charset="-122"/>
            </a:endParaRPr>
          </a:p>
        </p:txBody>
      </p:sp>
      <p:sp>
        <p:nvSpPr>
          <p:cNvPr id="33" name="Oval 93"/>
          <p:cNvSpPr>
            <a:spLocks noChangeArrowheads="1"/>
          </p:cNvSpPr>
          <p:nvPr/>
        </p:nvSpPr>
        <p:spPr bwMode="auto">
          <a:xfrm>
            <a:off x="1755756" y="2455118"/>
            <a:ext cx="1440000" cy="1151456"/>
          </a:xfrm>
          <a:prstGeom prst="ellipse">
            <a:avLst/>
          </a:prstGeom>
          <a:gradFill flip="none" rotWithShape="1">
            <a:gsLst>
              <a:gs pos="0">
                <a:srgbClr val="6EFF01"/>
              </a:gs>
              <a:gs pos="90000">
                <a:srgbClr val="0F5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 fov="1800000"/>
            <a:lightRig rig="flat" dir="t"/>
          </a:scene3d>
          <a:sp3d extrusionH="1270000" contourW="19050">
            <a:bevelT w="101600" prst="convex"/>
            <a:bevelB w="0" h="38100"/>
            <a:contourClr>
              <a:srgbClr val="89FF8C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" name="TextBox 33"/>
          <p:cNvSpPr txBox="1"/>
          <p:nvPr/>
        </p:nvSpPr>
        <p:spPr bwMode="auto">
          <a:xfrm>
            <a:off x="1618765" y="2869264"/>
            <a:ext cx="1713982" cy="307777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5" name="Oval 93"/>
          <p:cNvSpPr>
            <a:spLocks noChangeArrowheads="1"/>
          </p:cNvSpPr>
          <p:nvPr/>
        </p:nvSpPr>
        <p:spPr bwMode="auto">
          <a:xfrm>
            <a:off x="6087659" y="2455118"/>
            <a:ext cx="1440000" cy="1151456"/>
          </a:xfrm>
          <a:prstGeom prst="ellipse">
            <a:avLst/>
          </a:prstGeom>
          <a:gradFill flip="none" rotWithShape="1">
            <a:gsLst>
              <a:gs pos="0">
                <a:srgbClr val="FFC000"/>
              </a:gs>
              <a:gs pos="90000">
                <a:srgbClr val="F0353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 fov="1800000"/>
            <a:lightRig rig="flat" dir="t"/>
          </a:scene3d>
          <a:sp3d extrusionH="1270000" contourW="19050">
            <a:bevelT w="101600" prst="convex"/>
            <a:bevelB w="0" h="38100"/>
            <a:contourClr>
              <a:srgbClr val="FFFF8B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" name="TextBox 35"/>
          <p:cNvSpPr txBox="1"/>
          <p:nvPr/>
        </p:nvSpPr>
        <p:spPr bwMode="auto">
          <a:xfrm>
            <a:off x="5987297" y="2869264"/>
            <a:ext cx="1640724" cy="307777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000"/>
                            </p:stCondLst>
                            <p:childTnLst>
                              <p:par>
                                <p:cTn id="31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3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500"/>
                            </p:stCondLst>
                            <p:childTnLst>
                              <p:par>
                                <p:cTn id="3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0"/>
                            </p:stCondLst>
                            <p:childTnLst>
                              <p:par>
                                <p:cTn id="4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6000"/>
                            </p:stCondLst>
                            <p:childTnLst>
                              <p:par>
                                <p:cTn id="4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6500"/>
                            </p:stCondLst>
                            <p:childTnLst>
                              <p:par>
                                <p:cTn id="4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8" grpId="0"/>
      <p:bldP spid="29" grpId="0" animBg="1"/>
      <p:bldP spid="30" grpId="0" animBg="1"/>
      <p:bldP spid="31" grpId="0"/>
      <p:bldP spid="32" grpId="0" animBg="1"/>
      <p:bldP spid="33" grpId="0" animBg="1"/>
      <p:bldP spid="34" grpId="0"/>
      <p:bldP spid="35" grpId="0" animBg="1"/>
      <p:bldP spid="3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圆角矩形 60"/>
          <p:cNvSpPr/>
          <p:nvPr/>
        </p:nvSpPr>
        <p:spPr bwMode="auto">
          <a:xfrm>
            <a:off x="3699440" y="4326413"/>
            <a:ext cx="4377760" cy="900000"/>
          </a:xfrm>
          <a:prstGeom prst="roundRect">
            <a:avLst>
              <a:gd name="adj" fmla="val 9992"/>
            </a:avLst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2" name="圆角矩形 61"/>
          <p:cNvSpPr/>
          <p:nvPr/>
        </p:nvSpPr>
        <p:spPr bwMode="auto">
          <a:xfrm>
            <a:off x="3699440" y="3197647"/>
            <a:ext cx="4377760" cy="900000"/>
          </a:xfrm>
          <a:prstGeom prst="roundRect">
            <a:avLst>
              <a:gd name="adj" fmla="val 9992"/>
            </a:avLst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3" name="圆角矩形 62"/>
          <p:cNvSpPr/>
          <p:nvPr/>
        </p:nvSpPr>
        <p:spPr bwMode="auto">
          <a:xfrm>
            <a:off x="3699440" y="2057400"/>
            <a:ext cx="4377760" cy="900000"/>
          </a:xfrm>
          <a:prstGeom prst="roundRect">
            <a:avLst>
              <a:gd name="adj" fmla="val 9992"/>
            </a:avLst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41" name="组合 40"/>
          <p:cNvGrpSpPr/>
          <p:nvPr/>
        </p:nvGrpSpPr>
        <p:grpSpPr>
          <a:xfrm>
            <a:off x="3031348" y="2282307"/>
            <a:ext cx="1486270" cy="453571"/>
            <a:chOff x="3107548" y="2313694"/>
            <a:chExt cx="1486270" cy="453571"/>
          </a:xfrm>
        </p:grpSpPr>
        <p:sp>
          <p:nvSpPr>
            <p:cNvPr id="65" name="五边形 64"/>
            <p:cNvSpPr/>
            <p:nvPr/>
          </p:nvSpPr>
          <p:spPr bwMode="auto">
            <a:xfrm>
              <a:off x="3107548" y="2313694"/>
              <a:ext cx="1486270" cy="453571"/>
            </a:xfrm>
            <a:prstGeom prst="homePlat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6" name="TextBox 22"/>
            <p:cNvSpPr txBox="1">
              <a:spLocks noChangeArrowheads="1"/>
            </p:cNvSpPr>
            <p:nvPr/>
          </p:nvSpPr>
          <p:spPr bwMode="auto">
            <a:xfrm>
              <a:off x="3184525" y="2385862"/>
              <a:ext cx="1241425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400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文本</a:t>
              </a:r>
              <a:endParaRPr lang="zh-CN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>
            <a:off x="3031348" y="3423991"/>
            <a:ext cx="1486270" cy="453572"/>
            <a:chOff x="3107548" y="3455378"/>
            <a:chExt cx="1486270" cy="453572"/>
          </a:xfrm>
        </p:grpSpPr>
        <p:sp>
          <p:nvSpPr>
            <p:cNvPr id="67" name="五边形 66"/>
            <p:cNvSpPr/>
            <p:nvPr/>
          </p:nvSpPr>
          <p:spPr bwMode="auto">
            <a:xfrm>
              <a:off x="3107548" y="3455378"/>
              <a:ext cx="1486270" cy="453572"/>
            </a:xfrm>
            <a:prstGeom prst="homePlat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8" name="TextBox 22"/>
            <p:cNvSpPr txBox="1">
              <a:spLocks noChangeArrowheads="1"/>
            </p:cNvSpPr>
            <p:nvPr/>
          </p:nvSpPr>
          <p:spPr bwMode="auto">
            <a:xfrm>
              <a:off x="3184525" y="3546324"/>
              <a:ext cx="1241425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400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文本</a:t>
              </a:r>
              <a:endParaRPr lang="zh-CN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43" name="组合 42"/>
          <p:cNvGrpSpPr/>
          <p:nvPr/>
        </p:nvGrpSpPr>
        <p:grpSpPr>
          <a:xfrm>
            <a:off x="3031348" y="4565650"/>
            <a:ext cx="1486270" cy="453572"/>
            <a:chOff x="3107548" y="4597037"/>
            <a:chExt cx="1486270" cy="453572"/>
          </a:xfrm>
        </p:grpSpPr>
        <p:sp>
          <p:nvSpPr>
            <p:cNvPr id="69" name="五边形 68"/>
            <p:cNvSpPr/>
            <p:nvPr/>
          </p:nvSpPr>
          <p:spPr bwMode="auto">
            <a:xfrm>
              <a:off x="3107548" y="4597037"/>
              <a:ext cx="1486270" cy="453572"/>
            </a:xfrm>
            <a:prstGeom prst="homePlat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0" name="TextBox 22"/>
            <p:cNvSpPr txBox="1">
              <a:spLocks noChangeArrowheads="1"/>
            </p:cNvSpPr>
            <p:nvPr/>
          </p:nvSpPr>
          <p:spPr bwMode="auto">
            <a:xfrm>
              <a:off x="3184525" y="4670274"/>
              <a:ext cx="1241425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400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文本</a:t>
              </a:r>
              <a:endParaRPr lang="zh-CN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44" name="组合 43"/>
          <p:cNvGrpSpPr/>
          <p:nvPr/>
        </p:nvGrpSpPr>
        <p:grpSpPr>
          <a:xfrm>
            <a:off x="4947856" y="2208425"/>
            <a:ext cx="2229232" cy="307975"/>
            <a:chOff x="5024056" y="2239812"/>
            <a:chExt cx="2229232" cy="307975"/>
          </a:xfrm>
        </p:grpSpPr>
        <p:sp>
          <p:nvSpPr>
            <p:cNvPr id="64" name="TextBox 32"/>
            <p:cNvSpPr txBox="1">
              <a:spLocks noChangeArrowheads="1"/>
            </p:cNvSpPr>
            <p:nvPr/>
          </p:nvSpPr>
          <p:spPr bwMode="auto">
            <a:xfrm>
              <a:off x="5106988" y="2239812"/>
              <a:ext cx="2146300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点击添加文本一</a:t>
              </a:r>
            </a:p>
          </p:txBody>
        </p:sp>
        <p:sp>
          <p:nvSpPr>
            <p:cNvPr id="71" name="椭圆 70"/>
            <p:cNvSpPr/>
            <p:nvPr/>
          </p:nvSpPr>
          <p:spPr bwMode="auto">
            <a:xfrm>
              <a:off x="5024056" y="2336096"/>
              <a:ext cx="111922" cy="116174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4947856" y="2527512"/>
            <a:ext cx="2229232" cy="307975"/>
            <a:chOff x="5024056" y="2558899"/>
            <a:chExt cx="2229232" cy="307975"/>
          </a:xfrm>
        </p:grpSpPr>
        <p:sp>
          <p:nvSpPr>
            <p:cNvPr id="72" name="TextBox 32"/>
            <p:cNvSpPr txBox="1">
              <a:spLocks noChangeArrowheads="1"/>
            </p:cNvSpPr>
            <p:nvPr/>
          </p:nvSpPr>
          <p:spPr bwMode="auto">
            <a:xfrm>
              <a:off x="5106988" y="2558899"/>
              <a:ext cx="2146300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点击添加文本二</a:t>
              </a:r>
            </a:p>
          </p:txBody>
        </p:sp>
        <p:sp>
          <p:nvSpPr>
            <p:cNvPr id="73" name="椭圆 72"/>
            <p:cNvSpPr/>
            <p:nvPr/>
          </p:nvSpPr>
          <p:spPr bwMode="auto">
            <a:xfrm>
              <a:off x="5024056" y="2654398"/>
              <a:ext cx="111922" cy="116174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46" name="组合 45"/>
          <p:cNvGrpSpPr/>
          <p:nvPr/>
        </p:nvGrpSpPr>
        <p:grpSpPr>
          <a:xfrm>
            <a:off x="4947856" y="3343487"/>
            <a:ext cx="2229232" cy="307975"/>
            <a:chOff x="5024056" y="3374874"/>
            <a:chExt cx="2229232" cy="307975"/>
          </a:xfrm>
        </p:grpSpPr>
        <p:sp>
          <p:nvSpPr>
            <p:cNvPr id="74" name="TextBox 32"/>
            <p:cNvSpPr txBox="1">
              <a:spLocks noChangeArrowheads="1"/>
            </p:cNvSpPr>
            <p:nvPr/>
          </p:nvSpPr>
          <p:spPr bwMode="auto">
            <a:xfrm>
              <a:off x="5106988" y="3374874"/>
              <a:ext cx="2146300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点击添加文本三</a:t>
              </a:r>
            </a:p>
          </p:txBody>
        </p:sp>
        <p:sp>
          <p:nvSpPr>
            <p:cNvPr id="75" name="椭圆 74"/>
            <p:cNvSpPr/>
            <p:nvPr/>
          </p:nvSpPr>
          <p:spPr bwMode="auto">
            <a:xfrm>
              <a:off x="5024056" y="3471124"/>
              <a:ext cx="111922" cy="116174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47" name="组合 46"/>
          <p:cNvGrpSpPr/>
          <p:nvPr/>
        </p:nvGrpSpPr>
        <p:grpSpPr>
          <a:xfrm>
            <a:off x="4947856" y="3675275"/>
            <a:ext cx="2229232" cy="307975"/>
            <a:chOff x="5024056" y="3706662"/>
            <a:chExt cx="2229232" cy="307975"/>
          </a:xfrm>
        </p:grpSpPr>
        <p:sp>
          <p:nvSpPr>
            <p:cNvPr id="76" name="TextBox 32"/>
            <p:cNvSpPr txBox="1">
              <a:spLocks noChangeArrowheads="1"/>
            </p:cNvSpPr>
            <p:nvPr/>
          </p:nvSpPr>
          <p:spPr bwMode="auto">
            <a:xfrm>
              <a:off x="5106988" y="3706662"/>
              <a:ext cx="2146300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点击添加文本四</a:t>
              </a:r>
            </a:p>
          </p:txBody>
        </p:sp>
        <p:sp>
          <p:nvSpPr>
            <p:cNvPr id="77" name="椭圆 76"/>
            <p:cNvSpPr/>
            <p:nvPr/>
          </p:nvSpPr>
          <p:spPr bwMode="auto">
            <a:xfrm>
              <a:off x="5024056" y="3802244"/>
              <a:ext cx="111922" cy="116174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4947856" y="4478550"/>
            <a:ext cx="2229232" cy="307975"/>
            <a:chOff x="5024056" y="4509937"/>
            <a:chExt cx="2229232" cy="307975"/>
          </a:xfrm>
        </p:grpSpPr>
        <p:sp>
          <p:nvSpPr>
            <p:cNvPr id="78" name="TextBox 32"/>
            <p:cNvSpPr txBox="1">
              <a:spLocks noChangeArrowheads="1"/>
            </p:cNvSpPr>
            <p:nvPr/>
          </p:nvSpPr>
          <p:spPr bwMode="auto">
            <a:xfrm>
              <a:off x="5106988" y="4509937"/>
              <a:ext cx="2146300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点击添加文本五</a:t>
              </a:r>
            </a:p>
          </p:txBody>
        </p:sp>
        <p:sp>
          <p:nvSpPr>
            <p:cNvPr id="79" name="椭圆 78"/>
            <p:cNvSpPr/>
            <p:nvPr/>
          </p:nvSpPr>
          <p:spPr bwMode="auto">
            <a:xfrm>
              <a:off x="5024056" y="4605737"/>
              <a:ext cx="111922" cy="116174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49" name="组合 48"/>
          <p:cNvGrpSpPr/>
          <p:nvPr/>
        </p:nvGrpSpPr>
        <p:grpSpPr>
          <a:xfrm>
            <a:off x="4947856" y="4821450"/>
            <a:ext cx="2229232" cy="307975"/>
            <a:chOff x="5024056" y="4852837"/>
            <a:chExt cx="2229232" cy="307975"/>
          </a:xfrm>
        </p:grpSpPr>
        <p:sp>
          <p:nvSpPr>
            <p:cNvPr id="80" name="TextBox 32"/>
            <p:cNvSpPr txBox="1">
              <a:spLocks noChangeArrowheads="1"/>
            </p:cNvSpPr>
            <p:nvPr/>
          </p:nvSpPr>
          <p:spPr bwMode="auto">
            <a:xfrm>
              <a:off x="5106988" y="4852837"/>
              <a:ext cx="2146300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点击添加文本六</a:t>
              </a:r>
            </a:p>
          </p:txBody>
        </p:sp>
        <p:sp>
          <p:nvSpPr>
            <p:cNvPr id="81" name="椭圆 80"/>
            <p:cNvSpPr/>
            <p:nvPr/>
          </p:nvSpPr>
          <p:spPr bwMode="auto">
            <a:xfrm>
              <a:off x="5024056" y="4948889"/>
              <a:ext cx="111922" cy="116174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82" name="任意多边形 81"/>
          <p:cNvSpPr/>
          <p:nvPr/>
        </p:nvSpPr>
        <p:spPr>
          <a:xfrm>
            <a:off x="2200685" y="2516098"/>
            <a:ext cx="900000" cy="1009403"/>
          </a:xfrm>
          <a:custGeom>
            <a:avLst/>
            <a:gdLst>
              <a:gd name="connsiteX0" fmla="*/ 0 w 1092530"/>
              <a:gd name="connsiteY0" fmla="*/ 1068780 h 1068780"/>
              <a:gd name="connsiteX1" fmla="*/ 1092530 w 1092530"/>
              <a:gd name="connsiteY1" fmla="*/ 0 h 1068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92530" h="1068780">
                <a:moveTo>
                  <a:pt x="0" y="1068780"/>
                </a:moveTo>
                <a:lnTo>
                  <a:pt x="1092530" y="0"/>
                </a:lnTo>
              </a:path>
            </a:pathLst>
          </a:custGeom>
          <a:noFill/>
          <a:ln w="38100">
            <a:solidFill>
              <a:schemeClr val="tx1">
                <a:lumMod val="65000"/>
                <a:lumOff val="35000"/>
                <a:alpha val="50000"/>
              </a:schemeClr>
            </a:solidFill>
            <a:headEnd type="oval"/>
            <a:tailEnd type="oval"/>
          </a:ln>
          <a:effectLst>
            <a:outerShdw blurRad="50800" dist="25400" dir="2700000" algn="tl" rotWithShape="0">
              <a:prstClr val="black">
                <a:alpha val="50000"/>
              </a:prstClr>
            </a:outerShdw>
          </a:effectLst>
          <a:scene3d>
            <a:camera prst="orthographicFront"/>
            <a:lightRig rig="flat" dir="t"/>
          </a:scene3d>
          <a:sp3d contourW="12700"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3" name="任意多边形 82"/>
          <p:cNvSpPr/>
          <p:nvPr/>
        </p:nvSpPr>
        <p:spPr>
          <a:xfrm>
            <a:off x="2224436" y="3659769"/>
            <a:ext cx="900000" cy="0"/>
          </a:xfrm>
          <a:custGeom>
            <a:avLst/>
            <a:gdLst>
              <a:gd name="connsiteX0" fmla="*/ 0 w 1092530"/>
              <a:gd name="connsiteY0" fmla="*/ 1068780 h 1068780"/>
              <a:gd name="connsiteX1" fmla="*/ 1092530 w 1092530"/>
              <a:gd name="connsiteY1" fmla="*/ 0 h 1068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92530" h="1068780">
                <a:moveTo>
                  <a:pt x="0" y="1068780"/>
                </a:moveTo>
                <a:lnTo>
                  <a:pt x="1092530" y="0"/>
                </a:lnTo>
              </a:path>
            </a:pathLst>
          </a:custGeom>
          <a:noFill/>
          <a:ln w="38100">
            <a:solidFill>
              <a:schemeClr val="tx1">
                <a:lumMod val="65000"/>
                <a:lumOff val="35000"/>
                <a:alpha val="50000"/>
              </a:schemeClr>
            </a:solidFill>
            <a:headEnd type="oval"/>
            <a:tailEnd type="oval"/>
          </a:ln>
          <a:effectLst>
            <a:outerShdw blurRad="50800" dist="25400" dir="2700000" algn="tl" rotWithShape="0">
              <a:prstClr val="black">
                <a:alpha val="50000"/>
              </a:prstClr>
            </a:outerShdw>
          </a:effectLst>
          <a:scene3d>
            <a:camera prst="orthographicFront"/>
            <a:lightRig rig="flat" dir="t"/>
          </a:scene3d>
          <a:sp3d contourW="12700"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4" name="任意多边形 83"/>
          <p:cNvSpPr/>
          <p:nvPr/>
        </p:nvSpPr>
        <p:spPr>
          <a:xfrm flipV="1">
            <a:off x="2200685" y="3786602"/>
            <a:ext cx="900000" cy="1009403"/>
          </a:xfrm>
          <a:custGeom>
            <a:avLst/>
            <a:gdLst>
              <a:gd name="connsiteX0" fmla="*/ 0 w 1092530"/>
              <a:gd name="connsiteY0" fmla="*/ 1068780 h 1068780"/>
              <a:gd name="connsiteX1" fmla="*/ 1092530 w 1092530"/>
              <a:gd name="connsiteY1" fmla="*/ 0 h 1068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92530" h="1068780">
                <a:moveTo>
                  <a:pt x="0" y="1068780"/>
                </a:moveTo>
                <a:lnTo>
                  <a:pt x="1092530" y="0"/>
                </a:lnTo>
              </a:path>
            </a:pathLst>
          </a:custGeom>
          <a:noFill/>
          <a:ln w="38100">
            <a:solidFill>
              <a:schemeClr val="tx1">
                <a:lumMod val="65000"/>
                <a:lumOff val="35000"/>
                <a:alpha val="50000"/>
              </a:schemeClr>
            </a:solidFill>
            <a:headEnd type="oval"/>
            <a:tailEnd type="oval"/>
          </a:ln>
          <a:effectLst>
            <a:outerShdw blurRad="50800" dist="25400" dir="2700000" algn="tl" rotWithShape="0">
              <a:prstClr val="black">
                <a:alpha val="50000"/>
              </a:prstClr>
            </a:outerShdw>
          </a:effectLst>
          <a:scene3d>
            <a:camera prst="orthographicFront"/>
            <a:lightRig rig="flat" dir="t"/>
          </a:scene3d>
          <a:sp3d contourW="12700"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9" name="椭圆 38"/>
          <p:cNvSpPr/>
          <p:nvPr/>
        </p:nvSpPr>
        <p:spPr bwMode="auto">
          <a:xfrm>
            <a:off x="990600" y="2559413"/>
            <a:ext cx="1779750" cy="1779750"/>
          </a:xfrm>
          <a:prstGeom prst="ellipse">
            <a:avLst/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 w="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>
              <a:rot lat="17399997" lon="0" rev="0"/>
            </a:camera>
            <a:lightRig rig="flat" dir="t"/>
          </a:scene3d>
          <a:sp3d extrusionH="127000">
            <a:bevelT w="254000" h="254000" prst="artDeco"/>
            <a:extrusionClr>
              <a:schemeClr val="bg1">
                <a:lumMod val="85000"/>
              </a:schemeClr>
            </a:extrusionClr>
            <a:contourClr>
              <a:srgbClr val="AFEAFF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5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0" name="TextBox 39"/>
          <p:cNvSpPr txBox="1"/>
          <p:nvPr/>
        </p:nvSpPr>
        <p:spPr bwMode="auto">
          <a:xfrm>
            <a:off x="1002711" y="3273275"/>
            <a:ext cx="1755530" cy="334745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2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3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4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4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0"/>
                            </p:stCondLst>
                            <p:childTnLst>
                              <p:par>
                                <p:cTn id="5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500"/>
                            </p:stCondLst>
                            <p:childTnLst>
                              <p:par>
                                <p:cTn id="5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6000"/>
                            </p:stCondLst>
                            <p:childTnLst>
                              <p:par>
                                <p:cTn id="60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6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6500"/>
                            </p:stCondLst>
                            <p:childTnLst>
                              <p:par>
                                <p:cTn id="64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6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7000"/>
                            </p:stCondLst>
                            <p:childTnLst>
                              <p:par>
                                <p:cTn id="6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80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9000"/>
                            </p:stCondLst>
                            <p:childTnLst>
                              <p:par>
                                <p:cTn id="7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  <p:bldP spid="62" grpId="0" animBg="1"/>
      <p:bldP spid="63" grpId="0" animBg="1"/>
      <p:bldP spid="82" grpId="0" animBg="1"/>
      <p:bldP spid="83" grpId="0" animBg="1"/>
      <p:bldP spid="84" grpId="0" animBg="1"/>
      <p:bldP spid="39" grpId="0" animBg="1"/>
      <p:bldP spid="40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Box 30"/>
          <p:cNvSpPr txBox="1">
            <a:spLocks noChangeArrowheads="1"/>
          </p:cNvSpPr>
          <p:nvPr/>
        </p:nvSpPr>
        <p:spPr bwMode="auto">
          <a:xfrm>
            <a:off x="3981736" y="3660756"/>
            <a:ext cx="3503140" cy="39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kumimoji="1" lang="en-US" altLang="zh-CN" sz="2400" b="1" dirty="0">
                <a:gradFill>
                  <a:gsLst>
                    <a:gs pos="0">
                      <a:srgbClr val="D31FE1"/>
                    </a:gs>
                    <a:gs pos="90000">
                      <a:srgbClr val="7A0C72"/>
                    </a:gs>
                  </a:gsLst>
                  <a:lin ang="2700000" scaled="1"/>
                </a:gradFill>
                <a:latin typeface="微软雅黑" pitchFamily="34" charset="-122"/>
                <a:ea typeface="微软雅黑" pitchFamily="34" charset="-122"/>
              </a:rPr>
              <a:t>10 </a:t>
            </a:r>
            <a:r>
              <a:rPr kumimoji="1" lang="zh-CN" altLang="en-US" sz="1600" dirty="0">
                <a:latin typeface="微软雅黑" pitchFamily="34" charset="-122"/>
                <a:ea typeface="微软雅黑" pitchFamily="34" charset="-122"/>
              </a:rPr>
              <a:t>条成绩，点击添加文本</a:t>
            </a:r>
          </a:p>
        </p:txBody>
      </p:sp>
      <p:sp>
        <p:nvSpPr>
          <p:cNvPr id="15" name="Freeform 7"/>
          <p:cNvSpPr>
            <a:spLocks/>
          </p:cNvSpPr>
          <p:nvPr/>
        </p:nvSpPr>
        <p:spPr bwMode="auto">
          <a:xfrm>
            <a:off x="1447800" y="1371600"/>
            <a:ext cx="5800479" cy="4042088"/>
          </a:xfrm>
          <a:custGeom>
            <a:avLst/>
            <a:gdLst/>
            <a:ahLst/>
            <a:cxnLst>
              <a:cxn ang="0">
                <a:pos x="0" y="455"/>
              </a:cxn>
              <a:cxn ang="0">
                <a:pos x="117" y="455"/>
              </a:cxn>
              <a:cxn ang="0">
                <a:pos x="117" y="378"/>
              </a:cxn>
              <a:cxn ang="0">
                <a:pos x="117" y="337"/>
              </a:cxn>
              <a:cxn ang="0">
                <a:pos x="158" y="337"/>
              </a:cxn>
              <a:cxn ang="0">
                <a:pos x="235" y="337"/>
              </a:cxn>
              <a:cxn ang="0">
                <a:pos x="235" y="260"/>
              </a:cxn>
              <a:cxn ang="0">
                <a:pos x="235" y="219"/>
              </a:cxn>
              <a:cxn ang="0">
                <a:pos x="276" y="219"/>
              </a:cxn>
              <a:cxn ang="0">
                <a:pos x="353" y="219"/>
              </a:cxn>
              <a:cxn ang="0">
                <a:pos x="353" y="142"/>
              </a:cxn>
              <a:cxn ang="0">
                <a:pos x="353" y="101"/>
              </a:cxn>
              <a:cxn ang="0">
                <a:pos x="394" y="101"/>
              </a:cxn>
              <a:cxn ang="0">
                <a:pos x="495" y="101"/>
              </a:cxn>
              <a:cxn ang="0">
                <a:pos x="568" y="29"/>
              </a:cxn>
              <a:cxn ang="0">
                <a:pos x="560" y="21"/>
              </a:cxn>
              <a:cxn ang="0">
                <a:pos x="593" y="10"/>
              </a:cxn>
              <a:cxn ang="0">
                <a:pos x="625" y="0"/>
              </a:cxn>
              <a:cxn ang="0">
                <a:pos x="615" y="32"/>
              </a:cxn>
              <a:cxn ang="0">
                <a:pos x="604" y="65"/>
              </a:cxn>
              <a:cxn ang="0">
                <a:pos x="596" y="57"/>
              </a:cxn>
              <a:cxn ang="0">
                <a:pos x="512" y="142"/>
              </a:cxn>
              <a:cxn ang="0">
                <a:pos x="512" y="142"/>
              </a:cxn>
              <a:cxn ang="0">
                <a:pos x="394" y="142"/>
              </a:cxn>
              <a:cxn ang="0">
                <a:pos x="394" y="219"/>
              </a:cxn>
              <a:cxn ang="0">
                <a:pos x="394" y="260"/>
              </a:cxn>
              <a:cxn ang="0">
                <a:pos x="353" y="260"/>
              </a:cxn>
              <a:cxn ang="0">
                <a:pos x="276" y="260"/>
              </a:cxn>
              <a:cxn ang="0">
                <a:pos x="276" y="337"/>
              </a:cxn>
              <a:cxn ang="0">
                <a:pos x="276" y="378"/>
              </a:cxn>
              <a:cxn ang="0">
                <a:pos x="235" y="378"/>
              </a:cxn>
              <a:cxn ang="0">
                <a:pos x="158" y="378"/>
              </a:cxn>
              <a:cxn ang="0">
                <a:pos x="158" y="455"/>
              </a:cxn>
              <a:cxn ang="0">
                <a:pos x="158" y="495"/>
              </a:cxn>
              <a:cxn ang="0">
                <a:pos x="117" y="495"/>
              </a:cxn>
              <a:cxn ang="0">
                <a:pos x="0" y="495"/>
              </a:cxn>
              <a:cxn ang="0">
                <a:pos x="0" y="455"/>
              </a:cxn>
            </a:cxnLst>
            <a:rect l="0" t="0" r="r" b="b"/>
            <a:pathLst>
              <a:path w="625" h="495">
                <a:moveTo>
                  <a:pt x="0" y="455"/>
                </a:moveTo>
                <a:lnTo>
                  <a:pt x="117" y="455"/>
                </a:lnTo>
                <a:lnTo>
                  <a:pt x="117" y="378"/>
                </a:lnTo>
                <a:lnTo>
                  <a:pt x="117" y="337"/>
                </a:lnTo>
                <a:lnTo>
                  <a:pt x="158" y="337"/>
                </a:lnTo>
                <a:lnTo>
                  <a:pt x="235" y="337"/>
                </a:lnTo>
                <a:lnTo>
                  <a:pt x="235" y="260"/>
                </a:lnTo>
                <a:lnTo>
                  <a:pt x="235" y="219"/>
                </a:lnTo>
                <a:lnTo>
                  <a:pt x="276" y="219"/>
                </a:lnTo>
                <a:lnTo>
                  <a:pt x="353" y="219"/>
                </a:lnTo>
                <a:lnTo>
                  <a:pt x="353" y="142"/>
                </a:lnTo>
                <a:lnTo>
                  <a:pt x="353" y="101"/>
                </a:lnTo>
                <a:lnTo>
                  <a:pt x="394" y="101"/>
                </a:lnTo>
                <a:lnTo>
                  <a:pt x="495" y="101"/>
                </a:lnTo>
                <a:lnTo>
                  <a:pt x="568" y="29"/>
                </a:lnTo>
                <a:lnTo>
                  <a:pt x="560" y="21"/>
                </a:lnTo>
                <a:lnTo>
                  <a:pt x="593" y="10"/>
                </a:lnTo>
                <a:lnTo>
                  <a:pt x="625" y="0"/>
                </a:lnTo>
                <a:lnTo>
                  <a:pt x="615" y="32"/>
                </a:lnTo>
                <a:lnTo>
                  <a:pt x="604" y="65"/>
                </a:lnTo>
                <a:lnTo>
                  <a:pt x="596" y="57"/>
                </a:lnTo>
                <a:lnTo>
                  <a:pt x="512" y="142"/>
                </a:lnTo>
                <a:lnTo>
                  <a:pt x="512" y="142"/>
                </a:lnTo>
                <a:lnTo>
                  <a:pt x="394" y="142"/>
                </a:lnTo>
                <a:lnTo>
                  <a:pt x="394" y="219"/>
                </a:lnTo>
                <a:lnTo>
                  <a:pt x="394" y="260"/>
                </a:lnTo>
                <a:lnTo>
                  <a:pt x="353" y="260"/>
                </a:lnTo>
                <a:lnTo>
                  <a:pt x="276" y="260"/>
                </a:lnTo>
                <a:lnTo>
                  <a:pt x="276" y="337"/>
                </a:lnTo>
                <a:lnTo>
                  <a:pt x="276" y="378"/>
                </a:lnTo>
                <a:lnTo>
                  <a:pt x="235" y="378"/>
                </a:lnTo>
                <a:lnTo>
                  <a:pt x="158" y="378"/>
                </a:lnTo>
                <a:lnTo>
                  <a:pt x="158" y="455"/>
                </a:lnTo>
                <a:lnTo>
                  <a:pt x="158" y="495"/>
                </a:lnTo>
                <a:lnTo>
                  <a:pt x="117" y="495"/>
                </a:lnTo>
                <a:lnTo>
                  <a:pt x="0" y="495"/>
                </a:lnTo>
                <a:lnTo>
                  <a:pt x="0" y="455"/>
                </a:lnTo>
              </a:path>
            </a:pathLst>
          </a:custGeom>
          <a:gradFill flip="none" rotWithShape="1">
            <a:gsLst>
              <a:gs pos="0">
                <a:srgbClr val="002774"/>
              </a:gs>
              <a:gs pos="100000">
                <a:srgbClr val="00DFF6"/>
              </a:gs>
            </a:gsLst>
            <a:lin ang="16200000" scaled="1"/>
            <a:tileRect/>
          </a:gradFill>
          <a:ln w="12700">
            <a:noFill/>
          </a:ln>
          <a:effectLst>
            <a:outerShdw blurRad="184150" dist="241300" dir="11520000" sx="110000" sy="110000" algn="ctr">
              <a:srgbClr val="000000">
                <a:alpha val="18000"/>
              </a:srgbClr>
            </a:outerShdw>
          </a:effectLst>
          <a:scene3d>
            <a:camera prst="perspectiveFront" fov="5100000">
              <a:rot lat="0" lon="0" rev="0"/>
            </a:camera>
            <a:lightRig rig="threePt" dir="t">
              <a:rot lat="0" lon="0" rev="0"/>
            </a:lightRig>
          </a:scene3d>
          <a:sp3d extrusionH="107950" prstMaterial="plastic">
            <a:bevelT w="127000" h="63500" prst="divo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ea typeface="微软雅黑" pitchFamily="34" charset="-122"/>
            </a:endParaRPr>
          </a:p>
        </p:txBody>
      </p:sp>
      <p:grpSp>
        <p:nvGrpSpPr>
          <p:cNvPr id="16" name="组合 19"/>
          <p:cNvGrpSpPr>
            <a:grpSpLocks/>
          </p:cNvGrpSpPr>
          <p:nvPr/>
        </p:nvGrpSpPr>
        <p:grpSpPr bwMode="auto">
          <a:xfrm>
            <a:off x="1386474" y="4564442"/>
            <a:ext cx="960738" cy="369332"/>
            <a:chOff x="67065" y="4886278"/>
            <a:chExt cx="1119779" cy="430831"/>
          </a:xfrm>
        </p:grpSpPr>
        <p:sp>
          <p:nvSpPr>
            <p:cNvPr id="17" name="矩形 8"/>
            <p:cNvSpPr>
              <a:spLocks noChangeArrowheads="1"/>
            </p:cNvSpPr>
            <p:nvPr/>
          </p:nvSpPr>
          <p:spPr bwMode="auto">
            <a:xfrm>
              <a:off x="67065" y="4886278"/>
              <a:ext cx="1112050" cy="4308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kumimoji="1" lang="en-US" altLang="zh-CN" dirty="0" smtClean="0">
                  <a:latin typeface="微软雅黑" pitchFamily="34" charset="-122"/>
                  <a:ea typeface="微软雅黑" pitchFamily="34" charset="-122"/>
                </a:rPr>
                <a:t>2009</a:t>
              </a:r>
              <a:r>
                <a:rPr kumimoji="1" lang="zh-CN" altLang="en-US" dirty="0" smtClean="0">
                  <a:latin typeface="微软雅黑" pitchFamily="34" charset="-122"/>
                  <a:ea typeface="微软雅黑" pitchFamily="34" charset="-122"/>
                </a:rPr>
                <a:t>年</a:t>
              </a:r>
              <a:endParaRPr lang="zh-CN" altLang="en-US" dirty="0">
                <a:latin typeface="Calibri" pitchFamily="34" charset="0"/>
                <a:ea typeface="微软雅黑" pitchFamily="34" charset="-122"/>
              </a:endParaRPr>
            </a:p>
          </p:txBody>
        </p:sp>
        <p:cxnSp>
          <p:nvCxnSpPr>
            <p:cNvPr id="18" name="直接连接符 17"/>
            <p:cNvCxnSpPr/>
            <p:nvPr/>
          </p:nvCxnSpPr>
          <p:spPr>
            <a:xfrm>
              <a:off x="142844" y="5311788"/>
              <a:ext cx="1044000" cy="1552"/>
            </a:xfrm>
            <a:prstGeom prst="line">
              <a:avLst/>
            </a:prstGeom>
            <a:noFill/>
            <a:ln w="63500" algn="ctr">
              <a:gradFill>
                <a:gsLst>
                  <a:gs pos="0">
                    <a:srgbClr val="FFC000"/>
                  </a:gs>
                  <a:gs pos="100000">
                    <a:srgbClr val="E66C08"/>
                  </a:gs>
                </a:gsLst>
                <a:lin ang="2700000" scaled="0"/>
              </a:gra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</p:grpSp>
      <p:grpSp>
        <p:nvGrpSpPr>
          <p:cNvPr id="19" name="组合 18"/>
          <p:cNvGrpSpPr>
            <a:grpSpLocks/>
          </p:cNvGrpSpPr>
          <p:nvPr/>
        </p:nvGrpSpPr>
        <p:grpSpPr bwMode="auto">
          <a:xfrm>
            <a:off x="2491957" y="3621287"/>
            <a:ext cx="954107" cy="369332"/>
            <a:chOff x="1356881" y="3786192"/>
            <a:chExt cx="1112301" cy="430772"/>
          </a:xfrm>
        </p:grpSpPr>
        <p:sp>
          <p:nvSpPr>
            <p:cNvPr id="20" name="矩形 9"/>
            <p:cNvSpPr>
              <a:spLocks noChangeArrowheads="1"/>
            </p:cNvSpPr>
            <p:nvPr/>
          </p:nvSpPr>
          <p:spPr bwMode="auto">
            <a:xfrm>
              <a:off x="1356881" y="3786192"/>
              <a:ext cx="1112301" cy="4307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latinLnBrk="1">
                <a:buClr>
                  <a:srgbClr val="FF0000"/>
                </a:buClr>
                <a:buSzPct val="70000"/>
              </a:pPr>
              <a:r>
                <a:rPr kumimoji="1" lang="en-US" altLang="zh-CN" dirty="0" smtClean="0">
                  <a:latin typeface="微软雅黑" pitchFamily="34" charset="-122"/>
                  <a:ea typeface="微软雅黑" pitchFamily="34" charset="-122"/>
                </a:rPr>
                <a:t>2010</a:t>
              </a:r>
              <a:r>
                <a:rPr kumimoji="1" lang="zh-CN" altLang="en-US" dirty="0" smtClean="0">
                  <a:latin typeface="微软雅黑" pitchFamily="34" charset="-122"/>
                  <a:ea typeface="微软雅黑" pitchFamily="34" charset="-122"/>
                </a:rPr>
                <a:t>年</a:t>
              </a:r>
              <a:endParaRPr kumimoji="1" lang="zh-CN" altLang="en-US" dirty="0"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21" name="直接连接符 20"/>
            <p:cNvCxnSpPr/>
            <p:nvPr/>
          </p:nvCxnSpPr>
          <p:spPr>
            <a:xfrm>
              <a:off x="1418198" y="4202118"/>
              <a:ext cx="1044000" cy="1552"/>
            </a:xfrm>
            <a:prstGeom prst="line">
              <a:avLst/>
            </a:prstGeom>
            <a:noFill/>
            <a:ln w="63500" algn="ctr">
              <a:gradFill>
                <a:gsLst>
                  <a:gs pos="0">
                    <a:srgbClr val="7CFF05"/>
                  </a:gs>
                  <a:gs pos="100000">
                    <a:srgbClr val="46720C"/>
                  </a:gs>
                </a:gsLst>
                <a:lin ang="2700000" scaled="0"/>
              </a:gra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</p:grpSp>
      <p:grpSp>
        <p:nvGrpSpPr>
          <p:cNvPr id="22" name="组合 17"/>
          <p:cNvGrpSpPr>
            <a:grpSpLocks/>
          </p:cNvGrpSpPr>
          <p:nvPr/>
        </p:nvGrpSpPr>
        <p:grpSpPr bwMode="auto">
          <a:xfrm>
            <a:off x="3566113" y="2665885"/>
            <a:ext cx="954107" cy="369332"/>
            <a:chOff x="2608401" y="2671701"/>
            <a:chExt cx="1112301" cy="430831"/>
          </a:xfrm>
        </p:grpSpPr>
        <p:sp>
          <p:nvSpPr>
            <p:cNvPr id="23" name="矩形 10"/>
            <p:cNvSpPr>
              <a:spLocks noChangeArrowheads="1"/>
            </p:cNvSpPr>
            <p:nvPr/>
          </p:nvSpPr>
          <p:spPr bwMode="auto">
            <a:xfrm>
              <a:off x="2608401" y="2671701"/>
              <a:ext cx="1112301" cy="4308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latinLnBrk="1">
                <a:buClr>
                  <a:srgbClr val="FF0000"/>
                </a:buClr>
                <a:buSzPct val="70000"/>
              </a:pPr>
              <a:r>
                <a:rPr kumimoji="1" lang="en-US" altLang="zh-CN" dirty="0" smtClean="0">
                  <a:latin typeface="微软雅黑" pitchFamily="34" charset="-122"/>
                  <a:ea typeface="微软雅黑" pitchFamily="34" charset="-122"/>
                </a:rPr>
                <a:t>2011</a:t>
              </a:r>
              <a:r>
                <a:rPr kumimoji="1" lang="zh-CN" altLang="en-US" dirty="0" smtClean="0">
                  <a:latin typeface="微软雅黑" pitchFamily="34" charset="-122"/>
                  <a:ea typeface="微软雅黑" pitchFamily="34" charset="-122"/>
                </a:rPr>
                <a:t>年</a:t>
              </a:r>
              <a:endParaRPr kumimoji="1" lang="zh-CN" altLang="en-US" dirty="0"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24" name="直接连接符 23"/>
            <p:cNvCxnSpPr/>
            <p:nvPr/>
          </p:nvCxnSpPr>
          <p:spPr>
            <a:xfrm>
              <a:off x="2655030" y="3084510"/>
              <a:ext cx="1044000" cy="1552"/>
            </a:xfrm>
            <a:prstGeom prst="line">
              <a:avLst/>
            </a:prstGeom>
            <a:noFill/>
            <a:ln w="63500" algn="ctr">
              <a:gradFill>
                <a:gsLst>
                  <a:gs pos="0">
                    <a:srgbClr val="9729DB"/>
                  </a:gs>
                  <a:gs pos="100000">
                    <a:schemeClr val="accent4">
                      <a:lumMod val="50000"/>
                    </a:schemeClr>
                  </a:gs>
                </a:gsLst>
                <a:lin ang="2700000" scaled="0"/>
              </a:gra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</p:grpSp>
      <p:grpSp>
        <p:nvGrpSpPr>
          <p:cNvPr id="25" name="组合 16"/>
          <p:cNvGrpSpPr>
            <a:grpSpLocks/>
          </p:cNvGrpSpPr>
          <p:nvPr/>
        </p:nvGrpSpPr>
        <p:grpSpPr bwMode="auto">
          <a:xfrm>
            <a:off x="4667389" y="1722731"/>
            <a:ext cx="954107" cy="369332"/>
            <a:chOff x="3894218" y="1571612"/>
            <a:chExt cx="1112301" cy="430773"/>
          </a:xfrm>
        </p:grpSpPr>
        <p:sp>
          <p:nvSpPr>
            <p:cNvPr id="26" name="矩形 11"/>
            <p:cNvSpPr>
              <a:spLocks noChangeArrowheads="1"/>
            </p:cNvSpPr>
            <p:nvPr/>
          </p:nvSpPr>
          <p:spPr bwMode="auto">
            <a:xfrm>
              <a:off x="3894218" y="1571612"/>
              <a:ext cx="1112301" cy="4307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latinLnBrk="1">
                <a:buClr>
                  <a:srgbClr val="FF0000"/>
                </a:buClr>
                <a:buSzPct val="70000"/>
                <a:buFont typeface="Wingdings" pitchFamily="2" charset="2"/>
                <a:buNone/>
              </a:pPr>
              <a:r>
                <a:rPr kumimoji="1" lang="en-US" altLang="zh-CN" dirty="0" smtClean="0">
                  <a:latin typeface="微软雅黑" pitchFamily="34" charset="-122"/>
                  <a:ea typeface="微软雅黑" pitchFamily="34" charset="-122"/>
                </a:rPr>
                <a:t>2012</a:t>
              </a:r>
              <a:r>
                <a:rPr kumimoji="1" lang="zh-CN" altLang="en-US" dirty="0" smtClean="0">
                  <a:latin typeface="微软雅黑" pitchFamily="34" charset="-122"/>
                  <a:ea typeface="微软雅黑" pitchFamily="34" charset="-122"/>
                </a:rPr>
                <a:t>年</a:t>
              </a:r>
              <a:endParaRPr kumimoji="1" lang="zh-CN" altLang="en-US" dirty="0"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27" name="直接连接符 26"/>
            <p:cNvCxnSpPr/>
            <p:nvPr/>
          </p:nvCxnSpPr>
          <p:spPr>
            <a:xfrm>
              <a:off x="3926278" y="1987540"/>
              <a:ext cx="1044000" cy="1552"/>
            </a:xfrm>
            <a:prstGeom prst="line">
              <a:avLst/>
            </a:prstGeom>
            <a:noFill/>
            <a:ln w="63500" algn="ctr">
              <a:gradFill>
                <a:gsLst>
                  <a:gs pos="0">
                    <a:srgbClr val="FF0000"/>
                  </a:gs>
                  <a:gs pos="100000">
                    <a:srgbClr val="A20000"/>
                  </a:gs>
                </a:gsLst>
                <a:lin ang="2700000" scaled="0"/>
              </a:gra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</p:grpSp>
      <p:sp>
        <p:nvSpPr>
          <p:cNvPr id="28" name="Text Box 30"/>
          <p:cNvSpPr txBox="1">
            <a:spLocks noChangeArrowheads="1"/>
          </p:cNvSpPr>
          <p:nvPr/>
        </p:nvSpPr>
        <p:spPr bwMode="auto">
          <a:xfrm>
            <a:off x="5114255" y="2776353"/>
            <a:ext cx="2903599" cy="39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kumimoji="1" lang="en-US" altLang="zh-CN" sz="2400" b="1" dirty="0">
                <a:gradFill>
                  <a:gsLst>
                    <a:gs pos="0">
                      <a:srgbClr val="F46B68"/>
                    </a:gs>
                    <a:gs pos="90000">
                      <a:srgbClr val="C01B00"/>
                    </a:gs>
                  </a:gsLst>
                  <a:lin ang="2700000" scaled="1"/>
                </a:gradFill>
                <a:latin typeface="微软雅黑" pitchFamily="34" charset="-122"/>
                <a:ea typeface="微软雅黑" pitchFamily="34" charset="-122"/>
              </a:rPr>
              <a:t>10 </a:t>
            </a:r>
            <a:r>
              <a:rPr kumimoji="1" lang="zh-CN" altLang="en-US" sz="1600" dirty="0">
                <a:latin typeface="微软雅黑" pitchFamily="34" charset="-122"/>
                <a:ea typeface="微软雅黑" pitchFamily="34" charset="-122"/>
              </a:rPr>
              <a:t>条成绩，点击添加文本</a:t>
            </a:r>
          </a:p>
        </p:txBody>
      </p:sp>
      <p:sp>
        <p:nvSpPr>
          <p:cNvPr id="29" name="Text Box 30"/>
          <p:cNvSpPr txBox="1">
            <a:spLocks noChangeArrowheads="1"/>
          </p:cNvSpPr>
          <p:nvPr/>
        </p:nvSpPr>
        <p:spPr bwMode="auto">
          <a:xfrm>
            <a:off x="2992503" y="4550443"/>
            <a:ext cx="3503140" cy="39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kumimoji="1" lang="en-US" altLang="zh-CN" sz="2400" b="1" dirty="0">
                <a:gradFill>
                  <a:gsLst>
                    <a:gs pos="0">
                      <a:srgbClr val="03FD50"/>
                    </a:gs>
                    <a:gs pos="90000">
                      <a:srgbClr val="02661C"/>
                    </a:gs>
                  </a:gsLst>
                  <a:lin ang="2700000" scaled="1"/>
                </a:gradFill>
                <a:latin typeface="微软雅黑" pitchFamily="34" charset="-122"/>
                <a:ea typeface="微软雅黑" pitchFamily="34" charset="-122"/>
              </a:rPr>
              <a:t>10 </a:t>
            </a:r>
            <a:r>
              <a:rPr kumimoji="1" lang="zh-CN" altLang="en-US" sz="1600" dirty="0">
                <a:latin typeface="微软雅黑" pitchFamily="34" charset="-122"/>
                <a:ea typeface="微软雅黑" pitchFamily="34" charset="-122"/>
              </a:rPr>
              <a:t>条成绩，点击添加文本</a:t>
            </a:r>
          </a:p>
        </p:txBody>
      </p:sp>
      <p:sp>
        <p:nvSpPr>
          <p:cNvPr id="30" name="Text Box 30"/>
          <p:cNvSpPr txBox="1">
            <a:spLocks noChangeArrowheads="1"/>
          </p:cNvSpPr>
          <p:nvPr/>
        </p:nvSpPr>
        <p:spPr bwMode="auto">
          <a:xfrm>
            <a:off x="1437106" y="5413688"/>
            <a:ext cx="3503140" cy="39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kumimoji="1" lang="en-US" altLang="zh-CN" sz="2400" b="1" dirty="0">
                <a:gradFill>
                  <a:gsLst>
                    <a:gs pos="0">
                      <a:srgbClr val="FFCF01"/>
                    </a:gs>
                    <a:gs pos="90000">
                      <a:srgbClr val="E22000"/>
                    </a:gs>
                  </a:gsLst>
                  <a:lin ang="2700000" scaled="1"/>
                </a:gradFill>
                <a:latin typeface="微软雅黑" pitchFamily="34" charset="-122"/>
                <a:ea typeface="微软雅黑" pitchFamily="34" charset="-122"/>
              </a:rPr>
              <a:t>10 </a:t>
            </a:r>
            <a:r>
              <a:rPr kumimoji="1" lang="zh-CN" altLang="en-US" sz="1600" dirty="0">
                <a:latin typeface="微软雅黑" pitchFamily="34" charset="-122"/>
                <a:ea typeface="微软雅黑" pitchFamily="34" charset="-122"/>
              </a:rPr>
              <a:t>条成绩，点击添加文本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900" decel="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000"/>
                            </p:stCondLst>
                            <p:childTnLst>
                              <p:par>
                                <p:cTn id="3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900" decel="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0"/>
                            </p:stCondLst>
                            <p:childTnLst>
                              <p:par>
                                <p:cTn id="40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900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6000"/>
                            </p:stCondLst>
                            <p:childTnLst>
                              <p:par>
                                <p:cTn id="47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900" decel="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 animBg="1"/>
      <p:bldP spid="28" grpId="0"/>
      <p:bldP spid="29" grpId="0"/>
      <p:bldP spid="3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Oval 11"/>
          <p:cNvSpPr>
            <a:spLocks noChangeArrowheads="1"/>
          </p:cNvSpPr>
          <p:nvPr/>
        </p:nvSpPr>
        <p:spPr bwMode="auto">
          <a:xfrm>
            <a:off x="2473513" y="2832323"/>
            <a:ext cx="4251197" cy="1577217"/>
          </a:xfrm>
          <a:prstGeom prst="ellipse">
            <a:avLst/>
          </a:prstGeom>
          <a:noFill/>
          <a:ln w="44450">
            <a:solidFill>
              <a:schemeClr val="tx1">
                <a:lumMod val="65000"/>
                <a:lumOff val="35000"/>
                <a:alpha val="50000"/>
              </a:schemeClr>
            </a:solidFill>
          </a:ln>
          <a:effectLst>
            <a:outerShdw blurRad="50800" dist="25400" dir="2700000" algn="tl" rotWithShape="0">
              <a:prstClr val="black">
                <a:alpha val="50000"/>
              </a:prstClr>
            </a:outerShdw>
          </a:effectLst>
          <a:scene3d>
            <a:camera prst="orthographicFront"/>
            <a:lightRig rig="flat" dir="t"/>
          </a:scene3d>
          <a:sp3d contourW="12700" prstMaterial="clear"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2" name="圆角矩形 61"/>
          <p:cNvSpPr/>
          <p:nvPr/>
        </p:nvSpPr>
        <p:spPr bwMode="auto">
          <a:xfrm>
            <a:off x="6170547" y="2022003"/>
            <a:ext cx="1440000" cy="468000"/>
          </a:xfrm>
          <a:prstGeom prst="roundRect">
            <a:avLst>
              <a:gd name="adj" fmla="val 10417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63" name="圆角矩形 62"/>
          <p:cNvSpPr/>
          <p:nvPr/>
        </p:nvSpPr>
        <p:spPr bwMode="auto">
          <a:xfrm>
            <a:off x="6865800" y="3375556"/>
            <a:ext cx="1440000" cy="468000"/>
          </a:xfrm>
          <a:prstGeom prst="roundRect">
            <a:avLst>
              <a:gd name="adj" fmla="val 10417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64" name="圆角矩形 63"/>
          <p:cNvSpPr/>
          <p:nvPr/>
        </p:nvSpPr>
        <p:spPr bwMode="auto">
          <a:xfrm>
            <a:off x="6176675" y="4735124"/>
            <a:ext cx="1440000" cy="468000"/>
          </a:xfrm>
          <a:prstGeom prst="roundRect">
            <a:avLst>
              <a:gd name="adj" fmla="val 10417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65" name="圆角矩形 64"/>
          <p:cNvSpPr/>
          <p:nvPr/>
        </p:nvSpPr>
        <p:spPr bwMode="auto">
          <a:xfrm>
            <a:off x="1578411" y="2022003"/>
            <a:ext cx="1440000" cy="468000"/>
          </a:xfrm>
          <a:prstGeom prst="roundRect">
            <a:avLst>
              <a:gd name="adj" fmla="val 10417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66" name="圆角矩形 65"/>
          <p:cNvSpPr/>
          <p:nvPr/>
        </p:nvSpPr>
        <p:spPr bwMode="auto">
          <a:xfrm>
            <a:off x="857141" y="3375556"/>
            <a:ext cx="1440000" cy="468000"/>
          </a:xfrm>
          <a:prstGeom prst="roundRect">
            <a:avLst>
              <a:gd name="adj" fmla="val 10417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67" name="圆角矩形 66"/>
          <p:cNvSpPr/>
          <p:nvPr/>
        </p:nvSpPr>
        <p:spPr bwMode="auto">
          <a:xfrm>
            <a:off x="1597162" y="4735124"/>
            <a:ext cx="1440000" cy="468000"/>
          </a:xfrm>
          <a:prstGeom prst="roundRect">
            <a:avLst>
              <a:gd name="adj" fmla="val 10417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grpSp>
        <p:nvGrpSpPr>
          <p:cNvPr id="68" name="组合 39"/>
          <p:cNvGrpSpPr>
            <a:grpSpLocks noChangeAspect="1"/>
          </p:cNvGrpSpPr>
          <p:nvPr/>
        </p:nvGrpSpPr>
        <p:grpSpPr bwMode="auto">
          <a:xfrm>
            <a:off x="5066093" y="4465638"/>
            <a:ext cx="1008063" cy="1008062"/>
            <a:chOff x="4776334" y="4404800"/>
            <a:chExt cx="1012166" cy="1008000"/>
          </a:xfrm>
        </p:grpSpPr>
        <p:sp>
          <p:nvSpPr>
            <p:cNvPr id="69" name="Oval 2"/>
            <p:cNvSpPr>
              <a:spLocks noChangeAspect="1" noChangeArrowheads="1"/>
            </p:cNvSpPr>
            <p:nvPr/>
          </p:nvSpPr>
          <p:spPr bwMode="auto">
            <a:xfrm>
              <a:off x="4780500" y="4404800"/>
              <a:ext cx="1008000" cy="1008000"/>
            </a:xfrm>
            <a:prstGeom prst="ellipse">
              <a:avLst/>
            </a:prstGeom>
            <a:gradFill flip="none" rotWithShape="1">
              <a:gsLst>
                <a:gs pos="0">
                  <a:srgbClr val="00DFF6"/>
                </a:gs>
                <a:gs pos="90000">
                  <a:srgbClr val="002774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0" name="椭圆 69"/>
            <p:cNvSpPr>
              <a:spLocks/>
            </p:cNvSpPr>
            <p:nvPr/>
          </p:nvSpPr>
          <p:spPr>
            <a:xfrm rot="19388639">
              <a:off x="4776334" y="4463533"/>
              <a:ext cx="683810" cy="468284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1" name="椭圆 70"/>
            <p:cNvSpPr>
              <a:spLocks noChangeAspect="1"/>
            </p:cNvSpPr>
            <p:nvPr/>
          </p:nvSpPr>
          <p:spPr>
            <a:xfrm>
              <a:off x="4888500" y="4512800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00B0F0">
                    <a:alpha val="6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72" name="TextBox 146"/>
          <p:cNvSpPr txBox="1">
            <a:spLocks noChangeArrowheads="1"/>
          </p:cNvSpPr>
          <p:nvPr/>
        </p:nvSpPr>
        <p:spPr bwMode="auto">
          <a:xfrm>
            <a:off x="5029285" y="4799847"/>
            <a:ext cx="1046960" cy="323165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5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  <a:endParaRPr lang="en-US" altLang="zh-CN" sz="1500" dirty="0">
              <a:solidFill>
                <a:schemeClr val="bg1"/>
              </a:solidFill>
              <a:effectLst>
                <a:reflection blurRad="6350" stA="50000" endA="300" endPos="50000" dist="60007" dir="5400000" sy="-100000" algn="bl" rotWithShape="0"/>
              </a:effectLst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73" name="组合 50"/>
          <p:cNvGrpSpPr>
            <a:grpSpLocks noChangeAspect="1"/>
          </p:cNvGrpSpPr>
          <p:nvPr/>
        </p:nvGrpSpPr>
        <p:grpSpPr bwMode="auto">
          <a:xfrm>
            <a:off x="3122993" y="1752600"/>
            <a:ext cx="1008063" cy="1008063"/>
            <a:chOff x="4776334" y="4404800"/>
            <a:chExt cx="1012166" cy="1008000"/>
          </a:xfrm>
        </p:grpSpPr>
        <p:sp>
          <p:nvSpPr>
            <p:cNvPr id="74" name="Oval 2"/>
            <p:cNvSpPr>
              <a:spLocks noChangeAspect="1" noChangeArrowheads="1"/>
            </p:cNvSpPr>
            <p:nvPr/>
          </p:nvSpPr>
          <p:spPr bwMode="auto">
            <a:xfrm>
              <a:off x="4780500" y="4404800"/>
              <a:ext cx="1008000" cy="1008000"/>
            </a:xfrm>
            <a:prstGeom prst="ellipse">
              <a:avLst/>
            </a:prstGeom>
            <a:gradFill flip="none" rotWithShape="1">
              <a:gsLst>
                <a:gs pos="0">
                  <a:srgbClr val="00DFF6"/>
                </a:gs>
                <a:gs pos="90000">
                  <a:srgbClr val="002774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5" name="椭圆 74"/>
            <p:cNvSpPr>
              <a:spLocks/>
            </p:cNvSpPr>
            <p:nvPr/>
          </p:nvSpPr>
          <p:spPr>
            <a:xfrm rot="19388639">
              <a:off x="4776334" y="4463534"/>
              <a:ext cx="683810" cy="468283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6" name="椭圆 75"/>
            <p:cNvSpPr>
              <a:spLocks noChangeAspect="1"/>
            </p:cNvSpPr>
            <p:nvPr/>
          </p:nvSpPr>
          <p:spPr>
            <a:xfrm>
              <a:off x="4888500" y="4512800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00B0F0">
                    <a:alpha val="6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77" name="TextBox 146"/>
          <p:cNvSpPr txBox="1">
            <a:spLocks noChangeArrowheads="1"/>
          </p:cNvSpPr>
          <p:nvPr/>
        </p:nvSpPr>
        <p:spPr bwMode="auto">
          <a:xfrm>
            <a:off x="3092201" y="2086726"/>
            <a:ext cx="1046960" cy="323165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5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  <a:endParaRPr lang="en-US" altLang="zh-CN" sz="1500" dirty="0">
              <a:solidFill>
                <a:schemeClr val="bg1"/>
              </a:solidFill>
              <a:effectLst>
                <a:reflection blurRad="6350" stA="50000" endA="300" endPos="50000" dist="60007" dir="5400000" sy="-100000" algn="bl" rotWithShape="0"/>
              </a:effectLst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78" name="组合 55"/>
          <p:cNvGrpSpPr>
            <a:grpSpLocks noChangeAspect="1"/>
          </p:cNvGrpSpPr>
          <p:nvPr/>
        </p:nvGrpSpPr>
        <p:grpSpPr bwMode="auto">
          <a:xfrm>
            <a:off x="3148393" y="4465638"/>
            <a:ext cx="1008063" cy="1008062"/>
            <a:chOff x="4776334" y="4404800"/>
            <a:chExt cx="1012166" cy="1008000"/>
          </a:xfrm>
        </p:grpSpPr>
        <p:sp>
          <p:nvSpPr>
            <p:cNvPr id="79" name="Oval 2"/>
            <p:cNvSpPr>
              <a:spLocks noChangeAspect="1" noChangeArrowheads="1"/>
            </p:cNvSpPr>
            <p:nvPr/>
          </p:nvSpPr>
          <p:spPr bwMode="auto">
            <a:xfrm>
              <a:off x="4780500" y="4404800"/>
              <a:ext cx="1008000" cy="1008000"/>
            </a:xfrm>
            <a:prstGeom prst="ellipse">
              <a:avLst/>
            </a:prstGeom>
            <a:gradFill flip="none" rotWithShape="1">
              <a:gsLst>
                <a:gs pos="0">
                  <a:srgbClr val="6EFF01"/>
                </a:gs>
                <a:gs pos="90000">
                  <a:srgbClr val="0F5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89FF8C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0" name="椭圆 79"/>
            <p:cNvSpPr>
              <a:spLocks/>
            </p:cNvSpPr>
            <p:nvPr/>
          </p:nvSpPr>
          <p:spPr>
            <a:xfrm rot="19388639">
              <a:off x="4776334" y="4463533"/>
              <a:ext cx="683810" cy="468284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81" name="椭圆 80"/>
            <p:cNvSpPr>
              <a:spLocks noChangeAspect="1"/>
            </p:cNvSpPr>
            <p:nvPr/>
          </p:nvSpPr>
          <p:spPr>
            <a:xfrm>
              <a:off x="4888500" y="4512800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6EFF01">
                    <a:alpha val="5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82" name="组合 61"/>
          <p:cNvGrpSpPr>
            <a:grpSpLocks noChangeAspect="1"/>
          </p:cNvGrpSpPr>
          <p:nvPr/>
        </p:nvGrpSpPr>
        <p:grpSpPr bwMode="auto">
          <a:xfrm>
            <a:off x="5751893" y="3105150"/>
            <a:ext cx="1008063" cy="1008063"/>
            <a:chOff x="4776334" y="4404800"/>
            <a:chExt cx="1012166" cy="1008000"/>
          </a:xfrm>
        </p:grpSpPr>
        <p:sp>
          <p:nvSpPr>
            <p:cNvPr id="83" name="Oval 2"/>
            <p:cNvSpPr>
              <a:spLocks noChangeAspect="1" noChangeArrowheads="1"/>
            </p:cNvSpPr>
            <p:nvPr/>
          </p:nvSpPr>
          <p:spPr bwMode="auto">
            <a:xfrm>
              <a:off x="4780500" y="4404800"/>
              <a:ext cx="1008000" cy="100800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4" name="椭圆 83"/>
            <p:cNvSpPr>
              <a:spLocks/>
            </p:cNvSpPr>
            <p:nvPr/>
          </p:nvSpPr>
          <p:spPr>
            <a:xfrm rot="19388639">
              <a:off x="4776334" y="4463534"/>
              <a:ext cx="683810" cy="468283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85" name="椭圆 84"/>
            <p:cNvSpPr>
              <a:spLocks noChangeAspect="1"/>
            </p:cNvSpPr>
            <p:nvPr/>
          </p:nvSpPr>
          <p:spPr>
            <a:xfrm>
              <a:off x="4888500" y="4512800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FFC000">
                    <a:alpha val="6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86" name="组合 65"/>
          <p:cNvGrpSpPr>
            <a:grpSpLocks noChangeAspect="1"/>
          </p:cNvGrpSpPr>
          <p:nvPr/>
        </p:nvGrpSpPr>
        <p:grpSpPr bwMode="auto">
          <a:xfrm>
            <a:off x="2407031" y="3105150"/>
            <a:ext cx="1008062" cy="1008063"/>
            <a:chOff x="4776334" y="4404800"/>
            <a:chExt cx="1012166" cy="1008000"/>
          </a:xfrm>
        </p:grpSpPr>
        <p:sp>
          <p:nvSpPr>
            <p:cNvPr id="87" name="Oval 2"/>
            <p:cNvSpPr>
              <a:spLocks noChangeAspect="1" noChangeArrowheads="1"/>
            </p:cNvSpPr>
            <p:nvPr/>
          </p:nvSpPr>
          <p:spPr bwMode="auto">
            <a:xfrm>
              <a:off x="4780500" y="4404800"/>
              <a:ext cx="1008000" cy="100800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8" name="椭圆 87"/>
            <p:cNvSpPr>
              <a:spLocks/>
            </p:cNvSpPr>
            <p:nvPr/>
          </p:nvSpPr>
          <p:spPr>
            <a:xfrm rot="19388639">
              <a:off x="4776334" y="4463534"/>
              <a:ext cx="683810" cy="468283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89" name="椭圆 88"/>
            <p:cNvSpPr>
              <a:spLocks noChangeAspect="1"/>
            </p:cNvSpPr>
            <p:nvPr/>
          </p:nvSpPr>
          <p:spPr>
            <a:xfrm>
              <a:off x="4888500" y="4512800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FFC000">
                    <a:alpha val="6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90" name="组合 69"/>
          <p:cNvGrpSpPr>
            <a:grpSpLocks noChangeAspect="1"/>
          </p:cNvGrpSpPr>
          <p:nvPr/>
        </p:nvGrpSpPr>
        <p:grpSpPr bwMode="auto">
          <a:xfrm>
            <a:off x="5048631" y="1752600"/>
            <a:ext cx="1008062" cy="1008063"/>
            <a:chOff x="4776334" y="4404800"/>
            <a:chExt cx="1012166" cy="1008000"/>
          </a:xfrm>
        </p:grpSpPr>
        <p:sp>
          <p:nvSpPr>
            <p:cNvPr id="91" name="Oval 2"/>
            <p:cNvSpPr>
              <a:spLocks noChangeAspect="1" noChangeArrowheads="1"/>
            </p:cNvSpPr>
            <p:nvPr/>
          </p:nvSpPr>
          <p:spPr bwMode="auto">
            <a:xfrm>
              <a:off x="4780500" y="4404800"/>
              <a:ext cx="1008000" cy="1008000"/>
            </a:xfrm>
            <a:prstGeom prst="ellipse">
              <a:avLst/>
            </a:prstGeom>
            <a:gradFill flip="none" rotWithShape="1">
              <a:gsLst>
                <a:gs pos="0">
                  <a:srgbClr val="6EFF01"/>
                </a:gs>
                <a:gs pos="90000">
                  <a:srgbClr val="0F5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89FF8C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92" name="椭圆 91"/>
            <p:cNvSpPr>
              <a:spLocks/>
            </p:cNvSpPr>
            <p:nvPr/>
          </p:nvSpPr>
          <p:spPr>
            <a:xfrm rot="19388639">
              <a:off x="4776334" y="4463534"/>
              <a:ext cx="683810" cy="468283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93" name="椭圆 92"/>
            <p:cNvSpPr>
              <a:spLocks noChangeAspect="1"/>
            </p:cNvSpPr>
            <p:nvPr/>
          </p:nvSpPr>
          <p:spPr>
            <a:xfrm>
              <a:off x="4888500" y="4512800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6EFF01">
                    <a:alpha val="5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sp>
        <p:nvSpPr>
          <p:cNvPr id="94" name="TextBox 146"/>
          <p:cNvSpPr txBox="1">
            <a:spLocks noChangeArrowheads="1"/>
          </p:cNvSpPr>
          <p:nvPr/>
        </p:nvSpPr>
        <p:spPr bwMode="auto">
          <a:xfrm>
            <a:off x="3104232" y="4799847"/>
            <a:ext cx="1046960" cy="323165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5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  <a:endParaRPr lang="en-US" altLang="zh-CN" sz="1500" dirty="0">
              <a:solidFill>
                <a:schemeClr val="bg1"/>
              </a:solidFill>
              <a:effectLst>
                <a:reflection blurRad="6350" stA="50000" endA="300" endPos="50000" dist="60007" dir="5400000" sy="-100000" algn="bl" rotWithShape="0"/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5" name="TextBox 146"/>
          <p:cNvSpPr txBox="1">
            <a:spLocks noChangeArrowheads="1"/>
          </p:cNvSpPr>
          <p:nvPr/>
        </p:nvSpPr>
        <p:spPr bwMode="auto">
          <a:xfrm>
            <a:off x="2370306" y="3440279"/>
            <a:ext cx="1046960" cy="323165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5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  <a:endParaRPr lang="en-US" altLang="zh-CN" sz="1500" dirty="0">
              <a:solidFill>
                <a:schemeClr val="bg1"/>
              </a:solidFill>
              <a:effectLst>
                <a:reflection blurRad="6350" stA="50000" endA="300" endPos="50000" dist="60007" dir="5400000" sy="-100000" algn="bl" rotWithShape="0"/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6" name="TextBox 146"/>
          <p:cNvSpPr txBox="1">
            <a:spLocks noChangeArrowheads="1"/>
          </p:cNvSpPr>
          <p:nvPr/>
        </p:nvSpPr>
        <p:spPr bwMode="auto">
          <a:xfrm>
            <a:off x="5715085" y="3440279"/>
            <a:ext cx="1046960" cy="323165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5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  <a:endParaRPr lang="en-US" altLang="zh-CN" sz="1500" dirty="0">
              <a:solidFill>
                <a:schemeClr val="bg1"/>
              </a:solidFill>
              <a:effectLst>
                <a:reflection blurRad="6350" stA="50000" endA="300" endPos="50000" dist="60007" dir="5400000" sy="-100000" algn="bl" rotWithShape="0"/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7" name="TextBox 146"/>
          <p:cNvSpPr txBox="1">
            <a:spLocks noChangeArrowheads="1"/>
          </p:cNvSpPr>
          <p:nvPr/>
        </p:nvSpPr>
        <p:spPr bwMode="auto">
          <a:xfrm>
            <a:off x="5017254" y="2086726"/>
            <a:ext cx="1046960" cy="323165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5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  <a:endParaRPr lang="en-US" altLang="zh-CN" sz="1500" dirty="0">
              <a:solidFill>
                <a:schemeClr val="bg1"/>
              </a:solidFill>
              <a:effectLst>
                <a:reflection blurRad="6350" stA="50000" endA="300" endPos="50000" dist="60007" dir="5400000" sy="-100000" algn="bl" rotWithShape="0"/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3808347" y="3393603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3500"/>
                            </p:stCondLst>
                            <p:childTnLst>
                              <p:par>
                                <p:cTn id="54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000"/>
                            </p:stCondLst>
                            <p:childTnLst>
                              <p:par>
                                <p:cTn id="61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4500"/>
                            </p:stCondLst>
                            <p:childTnLst>
                              <p:par>
                                <p:cTn id="68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5000"/>
                            </p:stCondLst>
                            <p:childTnLst>
                              <p:par>
                                <p:cTn id="7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5500"/>
                            </p:stCondLst>
                            <p:childTnLst>
                              <p:par>
                                <p:cTn id="8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000"/>
                            </p:stCondLst>
                            <p:childTnLst>
                              <p:par>
                                <p:cTn id="89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7000"/>
                            </p:stCondLst>
                            <p:childTnLst>
                              <p:par>
                                <p:cTn id="96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8000"/>
                            </p:stCondLst>
                            <p:childTnLst>
                              <p:par>
                                <p:cTn id="103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9000"/>
                            </p:stCondLst>
                            <p:childTnLst>
                              <p:par>
                                <p:cTn id="110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10000"/>
                            </p:stCondLst>
                            <p:childTnLst>
                              <p:par>
                                <p:cTn id="117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11000"/>
                            </p:stCondLst>
                            <p:childTnLst>
                              <p:par>
                                <p:cTn id="124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6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12000"/>
                            </p:stCondLst>
                            <p:childTnLst>
                              <p:par>
                                <p:cTn id="13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5" fill="hold">
                            <p:stCondLst>
                              <p:cond delay="12500"/>
                            </p:stCondLst>
                            <p:childTnLst>
                              <p:par>
                                <p:cTn id="136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  <p:bldP spid="62" grpId="0" animBg="1"/>
      <p:bldP spid="63" grpId="0" animBg="1"/>
      <p:bldP spid="64" grpId="0" animBg="1"/>
      <p:bldP spid="65" grpId="0" animBg="1"/>
      <p:bldP spid="66" grpId="0" animBg="1"/>
      <p:bldP spid="67" grpId="0" animBg="1"/>
      <p:bldP spid="72" grpId="0"/>
      <p:bldP spid="77" grpId="0"/>
      <p:bldP spid="94" grpId="0"/>
      <p:bldP spid="95" grpId="0"/>
      <p:bldP spid="96" grpId="0"/>
      <p:bldP spid="97" grpId="0"/>
      <p:bldP spid="5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17"/>
          <p:cNvSpPr>
            <a:spLocks noChangeArrowheads="1"/>
          </p:cNvSpPr>
          <p:nvPr/>
        </p:nvSpPr>
        <p:spPr bwMode="gray">
          <a:xfrm>
            <a:off x="3657600" y="1600200"/>
            <a:ext cx="4498975" cy="4038600"/>
          </a:xfrm>
          <a:prstGeom prst="roundRect">
            <a:avLst>
              <a:gd name="adj" fmla="val 18359"/>
            </a:avLst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" name="Rectangle 17"/>
          <p:cNvSpPr>
            <a:spLocks noChangeArrowheads="1"/>
          </p:cNvSpPr>
          <p:nvPr/>
        </p:nvSpPr>
        <p:spPr bwMode="gray">
          <a:xfrm>
            <a:off x="2201767" y="1932603"/>
            <a:ext cx="1816768" cy="3420000"/>
          </a:xfrm>
          <a:prstGeom prst="rightArrow">
            <a:avLst>
              <a:gd name="adj1" fmla="val 69120"/>
              <a:gd name="adj2" fmla="val 50331"/>
            </a:avLst>
          </a:prstGeom>
          <a:solidFill>
            <a:schemeClr val="bg1">
              <a:alpha val="82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64" name="组合 63"/>
          <p:cNvGrpSpPr/>
          <p:nvPr/>
        </p:nvGrpSpPr>
        <p:grpSpPr>
          <a:xfrm>
            <a:off x="4180004" y="1845241"/>
            <a:ext cx="3641308" cy="3600000"/>
            <a:chOff x="4180004" y="1921441"/>
            <a:chExt cx="3641308" cy="3600000"/>
          </a:xfrm>
        </p:grpSpPr>
        <p:sp>
          <p:nvSpPr>
            <p:cNvPr id="35" name="六边形 34"/>
            <p:cNvSpPr>
              <a:spLocks/>
            </p:cNvSpPr>
            <p:nvPr/>
          </p:nvSpPr>
          <p:spPr bwMode="auto">
            <a:xfrm>
              <a:off x="6493355" y="2528760"/>
              <a:ext cx="1327957" cy="1119321"/>
            </a:xfrm>
            <a:prstGeom prst="hexagon">
              <a:avLst/>
            </a:prstGeom>
            <a:solidFill>
              <a:srgbClr val="2DD7FF">
                <a:alpha val="60000"/>
              </a:srgbClr>
            </a:soli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7" name="六边形 36"/>
            <p:cNvSpPr>
              <a:spLocks/>
            </p:cNvSpPr>
            <p:nvPr/>
          </p:nvSpPr>
          <p:spPr bwMode="auto">
            <a:xfrm>
              <a:off x="6493398" y="3793068"/>
              <a:ext cx="1327869" cy="1121311"/>
            </a:xfrm>
            <a:prstGeom prst="hexagon">
              <a:avLst/>
            </a:prstGeom>
            <a:solidFill>
              <a:srgbClr val="2DD7FF">
                <a:alpha val="60000"/>
              </a:srgbClr>
            </a:soli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9" name="六边形 38"/>
            <p:cNvSpPr>
              <a:spLocks/>
            </p:cNvSpPr>
            <p:nvPr/>
          </p:nvSpPr>
          <p:spPr bwMode="auto">
            <a:xfrm>
              <a:off x="5341151" y="1921441"/>
              <a:ext cx="1327869" cy="1119835"/>
            </a:xfrm>
            <a:prstGeom prst="hexagon">
              <a:avLst/>
            </a:prstGeom>
            <a:solidFill>
              <a:srgbClr val="2DD7FF">
                <a:alpha val="60000"/>
              </a:srgbClr>
            </a:soli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3" name="六边形 42"/>
            <p:cNvSpPr>
              <a:spLocks/>
            </p:cNvSpPr>
            <p:nvPr/>
          </p:nvSpPr>
          <p:spPr bwMode="auto">
            <a:xfrm>
              <a:off x="5341151" y="4401605"/>
              <a:ext cx="1327869" cy="1119836"/>
            </a:xfrm>
            <a:prstGeom prst="hexagon">
              <a:avLst/>
            </a:prstGeom>
            <a:solidFill>
              <a:srgbClr val="2DD7FF">
                <a:alpha val="60000"/>
              </a:srgbClr>
            </a:soli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5" name="六边形 44"/>
            <p:cNvSpPr>
              <a:spLocks/>
            </p:cNvSpPr>
            <p:nvPr/>
          </p:nvSpPr>
          <p:spPr bwMode="auto">
            <a:xfrm>
              <a:off x="4180004" y="2528502"/>
              <a:ext cx="1327869" cy="1119836"/>
            </a:xfrm>
            <a:prstGeom prst="hexagon">
              <a:avLst/>
            </a:prstGeom>
            <a:solidFill>
              <a:srgbClr val="2DD7FF">
                <a:alpha val="60000"/>
              </a:srgbClr>
            </a:soli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7" name="六边形 46"/>
            <p:cNvSpPr>
              <a:spLocks/>
            </p:cNvSpPr>
            <p:nvPr/>
          </p:nvSpPr>
          <p:spPr bwMode="auto">
            <a:xfrm>
              <a:off x="4180004" y="3793068"/>
              <a:ext cx="1327869" cy="1121311"/>
            </a:xfrm>
            <a:prstGeom prst="hexagon">
              <a:avLst/>
            </a:prstGeom>
            <a:solidFill>
              <a:srgbClr val="2DD7FF">
                <a:alpha val="60000"/>
              </a:srgbClr>
            </a:soli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49" name="组合 42"/>
          <p:cNvGrpSpPr>
            <a:grpSpLocks/>
          </p:cNvGrpSpPr>
          <p:nvPr/>
        </p:nvGrpSpPr>
        <p:grpSpPr bwMode="auto">
          <a:xfrm>
            <a:off x="977900" y="3317875"/>
            <a:ext cx="1979613" cy="576263"/>
            <a:chOff x="1302275" y="3345654"/>
            <a:chExt cx="1512000" cy="576000"/>
          </a:xfrm>
        </p:grpSpPr>
        <p:sp>
          <p:nvSpPr>
            <p:cNvPr id="50" name="双波形 49"/>
            <p:cNvSpPr/>
            <p:nvPr/>
          </p:nvSpPr>
          <p:spPr bwMode="auto">
            <a:xfrm>
              <a:off x="1302275" y="3345654"/>
              <a:ext cx="1512000" cy="576000"/>
            </a:xfrm>
            <a:prstGeom prst="doubleWave">
              <a:avLst>
                <a:gd name="adj1" fmla="val 6250"/>
                <a:gd name="adj2" fmla="val -4430"/>
              </a:avLst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31750">
              <a:solidFill>
                <a:schemeClr val="bg1"/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2540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tabLst>
                  <a:tab pos="136525" algn="l"/>
                </a:tabLst>
                <a:defRPr/>
              </a:pPr>
              <a:endParaRPr lang="zh-CN" altLang="en-US" sz="15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1" name="TextBox 22"/>
            <p:cNvSpPr txBox="1">
              <a:spLocks noChangeArrowheads="1"/>
            </p:cNvSpPr>
            <p:nvPr/>
          </p:nvSpPr>
          <p:spPr bwMode="auto">
            <a:xfrm>
              <a:off x="1350026" y="3443393"/>
              <a:ext cx="1416498" cy="338554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/>
          </p:spPr>
          <p:txBody>
            <a:bodyPr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60007" dir="5400000" sy="-100000" algn="bl" rotWithShape="0"/>
                  </a:effectLst>
                  <a:latin typeface="微软雅黑" pitchFamily="34" charset="-122"/>
                  <a:ea typeface="微软雅黑" pitchFamily="34" charset="-122"/>
                </a:rPr>
                <a:t>添加标题</a:t>
              </a:r>
            </a:p>
          </p:txBody>
        </p:sp>
      </p:grpSp>
      <p:grpSp>
        <p:nvGrpSpPr>
          <p:cNvPr id="52" name="组合 43"/>
          <p:cNvGrpSpPr>
            <a:grpSpLocks/>
          </p:cNvGrpSpPr>
          <p:nvPr/>
        </p:nvGrpSpPr>
        <p:grpSpPr bwMode="auto">
          <a:xfrm>
            <a:off x="977900" y="4352925"/>
            <a:ext cx="1979613" cy="574675"/>
            <a:chOff x="1302275" y="4440528"/>
            <a:chExt cx="1512000" cy="576000"/>
          </a:xfrm>
        </p:grpSpPr>
        <p:sp>
          <p:nvSpPr>
            <p:cNvPr id="53" name="双波形 52"/>
            <p:cNvSpPr/>
            <p:nvPr/>
          </p:nvSpPr>
          <p:spPr bwMode="auto">
            <a:xfrm>
              <a:off x="1302275" y="4440528"/>
              <a:ext cx="1512000" cy="576000"/>
            </a:xfrm>
            <a:prstGeom prst="doubleWave">
              <a:avLst>
                <a:gd name="adj1" fmla="val 6250"/>
                <a:gd name="adj2" fmla="val -4430"/>
              </a:avLst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31750">
              <a:solidFill>
                <a:schemeClr val="bg1"/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2540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tabLst>
                  <a:tab pos="136525" algn="l"/>
                </a:tabLst>
                <a:defRPr/>
              </a:pPr>
              <a:endParaRPr lang="zh-CN" altLang="en-US" sz="15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4" name="TextBox 22"/>
            <p:cNvSpPr txBox="1">
              <a:spLocks noChangeArrowheads="1"/>
            </p:cNvSpPr>
            <p:nvPr/>
          </p:nvSpPr>
          <p:spPr bwMode="auto">
            <a:xfrm>
              <a:off x="1350026" y="4553377"/>
              <a:ext cx="1416498" cy="338554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/>
          </p:spPr>
          <p:txBody>
            <a:bodyPr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60007" dir="5400000" sy="-100000" algn="bl" rotWithShape="0"/>
                  </a:effectLst>
                  <a:latin typeface="微软雅黑" pitchFamily="34" charset="-122"/>
                  <a:ea typeface="微软雅黑" pitchFamily="34" charset="-122"/>
                </a:rPr>
                <a:t>添加标题</a:t>
              </a:r>
            </a:p>
          </p:txBody>
        </p:sp>
      </p:grpSp>
      <p:grpSp>
        <p:nvGrpSpPr>
          <p:cNvPr id="55" name="组合 41"/>
          <p:cNvGrpSpPr>
            <a:grpSpLocks/>
          </p:cNvGrpSpPr>
          <p:nvPr/>
        </p:nvGrpSpPr>
        <p:grpSpPr bwMode="auto">
          <a:xfrm>
            <a:off x="977900" y="2282825"/>
            <a:ext cx="1979613" cy="576263"/>
            <a:chOff x="1302275" y="2214685"/>
            <a:chExt cx="1512000" cy="576000"/>
          </a:xfrm>
        </p:grpSpPr>
        <p:sp>
          <p:nvSpPr>
            <p:cNvPr id="56" name="双波形 55"/>
            <p:cNvSpPr/>
            <p:nvPr/>
          </p:nvSpPr>
          <p:spPr bwMode="auto">
            <a:xfrm>
              <a:off x="1302275" y="2214685"/>
              <a:ext cx="1512000" cy="576000"/>
            </a:xfrm>
            <a:prstGeom prst="doubleWave">
              <a:avLst>
                <a:gd name="adj1" fmla="val 6250"/>
                <a:gd name="adj2" fmla="val -4430"/>
              </a:avLst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31750">
              <a:solidFill>
                <a:schemeClr val="bg1"/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2540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tabLst>
                  <a:tab pos="136525" algn="l"/>
                </a:tabLst>
                <a:defRPr/>
              </a:pPr>
              <a:endParaRPr lang="zh-CN" altLang="en-US" sz="15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7" name="TextBox 22"/>
            <p:cNvSpPr txBox="1">
              <a:spLocks noChangeArrowheads="1"/>
            </p:cNvSpPr>
            <p:nvPr/>
          </p:nvSpPr>
          <p:spPr bwMode="auto">
            <a:xfrm>
              <a:off x="1350026" y="2297312"/>
              <a:ext cx="1416498" cy="338554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/>
          </p:spPr>
          <p:txBody>
            <a:bodyPr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60007" dir="5400000" sy="-100000" algn="bl" rotWithShape="0"/>
                  </a:effectLst>
                  <a:latin typeface="微软雅黑" pitchFamily="34" charset="-122"/>
                  <a:ea typeface="微软雅黑" pitchFamily="34" charset="-122"/>
                </a:rPr>
                <a:t>添加标题</a:t>
              </a:r>
            </a:p>
          </p:txBody>
        </p:sp>
      </p:grpSp>
      <p:sp>
        <p:nvSpPr>
          <p:cNvPr id="36" name="TextBox 96"/>
          <p:cNvSpPr txBox="1">
            <a:spLocks noChangeArrowheads="1"/>
          </p:cNvSpPr>
          <p:nvPr/>
        </p:nvSpPr>
        <p:spPr bwMode="auto">
          <a:xfrm>
            <a:off x="6729413" y="2741613"/>
            <a:ext cx="857250" cy="541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8" name="TextBox 97"/>
          <p:cNvSpPr txBox="1">
            <a:spLocks noChangeArrowheads="1"/>
          </p:cNvSpPr>
          <p:nvPr/>
        </p:nvSpPr>
        <p:spPr bwMode="auto">
          <a:xfrm>
            <a:off x="6767513" y="4006850"/>
            <a:ext cx="781050" cy="54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40" name="TextBox 98"/>
          <p:cNvSpPr txBox="1">
            <a:spLocks noChangeArrowheads="1"/>
          </p:cNvSpPr>
          <p:nvPr/>
        </p:nvSpPr>
        <p:spPr bwMode="auto">
          <a:xfrm>
            <a:off x="5584825" y="2092325"/>
            <a:ext cx="841375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41" name="六边形 40"/>
          <p:cNvSpPr>
            <a:spLocks/>
          </p:cNvSpPr>
          <p:nvPr/>
        </p:nvSpPr>
        <p:spPr bwMode="auto">
          <a:xfrm>
            <a:off x="5341151" y="3090487"/>
            <a:ext cx="1327869" cy="1121311"/>
          </a:xfrm>
          <a:prstGeom prst="hexagon">
            <a:avLst/>
          </a:prstGeom>
          <a:solidFill>
            <a:srgbClr val="FFCF01">
              <a:alpha val="60000"/>
            </a:srgb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>
              <a:rot lat="0" lon="0" rev="0"/>
            </a:lightRig>
          </a:scene3d>
          <a:sp3d extrusionH="304800" contourW="19050">
            <a:bevelT w="101600" prst="convex"/>
            <a:bevelB w="0" h="635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" name="TextBox 99"/>
          <p:cNvSpPr txBox="1">
            <a:spLocks noChangeArrowheads="1"/>
          </p:cNvSpPr>
          <p:nvPr/>
        </p:nvSpPr>
        <p:spPr bwMode="auto">
          <a:xfrm>
            <a:off x="5618163" y="3387725"/>
            <a:ext cx="773112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44" name="TextBox 100"/>
          <p:cNvSpPr txBox="1">
            <a:spLocks noChangeArrowheads="1"/>
          </p:cNvSpPr>
          <p:nvPr/>
        </p:nvSpPr>
        <p:spPr bwMode="auto">
          <a:xfrm>
            <a:off x="5591175" y="4629150"/>
            <a:ext cx="827088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46" name="TextBox 108"/>
          <p:cNvSpPr txBox="1">
            <a:spLocks noChangeArrowheads="1"/>
          </p:cNvSpPr>
          <p:nvPr/>
        </p:nvSpPr>
        <p:spPr bwMode="auto">
          <a:xfrm>
            <a:off x="4405313" y="2741613"/>
            <a:ext cx="877887" cy="541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48" name="TextBox 109"/>
          <p:cNvSpPr txBox="1">
            <a:spLocks noChangeArrowheads="1"/>
          </p:cNvSpPr>
          <p:nvPr/>
        </p:nvSpPr>
        <p:spPr bwMode="auto">
          <a:xfrm>
            <a:off x="4454525" y="4006850"/>
            <a:ext cx="779463" cy="54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2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500"/>
                            </p:stCondLst>
                            <p:childTnLst>
                              <p:par>
                                <p:cTn id="34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0"/>
                            </p:stCondLst>
                            <p:childTnLst>
                              <p:par>
                                <p:cTn id="41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0"/>
                            </p:stCondLst>
                            <p:childTnLst>
                              <p:par>
                                <p:cTn id="48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500"/>
                            </p:stCondLst>
                            <p:childTnLst>
                              <p:par>
                                <p:cTn id="5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6000"/>
                            </p:stCondLst>
                            <p:childTnLst>
                              <p:par>
                                <p:cTn id="6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6500"/>
                            </p:stCondLst>
                            <p:childTnLst>
                              <p:par>
                                <p:cTn id="6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7000"/>
                            </p:stCondLst>
                            <p:childTnLst>
                              <p:par>
                                <p:cTn id="76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7500"/>
                            </p:stCondLst>
                            <p:childTnLst>
                              <p:par>
                                <p:cTn id="83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4" grpId="0" animBg="1"/>
      <p:bldP spid="36" grpId="0"/>
      <p:bldP spid="38" grpId="0"/>
      <p:bldP spid="40" grpId="0"/>
      <p:bldP spid="41" grpId="0" animBg="1"/>
      <p:bldP spid="42" grpId="0"/>
      <p:bldP spid="44" grpId="0"/>
      <p:bldP spid="46" grpId="0"/>
      <p:bldP spid="4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Oval 8"/>
          <p:cNvSpPr>
            <a:spLocks noChangeArrowheads="1"/>
          </p:cNvSpPr>
          <p:nvPr/>
        </p:nvSpPr>
        <p:spPr bwMode="auto">
          <a:xfrm>
            <a:off x="2432746" y="2532047"/>
            <a:ext cx="4331950" cy="2293472"/>
          </a:xfrm>
          <a:prstGeom prst="ellipse">
            <a:avLst/>
          </a:prstGeom>
          <a:gradFill rotWithShape="1">
            <a:gsLst>
              <a:gs pos="0">
                <a:srgbClr val="C44732">
                  <a:tint val="50000"/>
                  <a:satMod val="300000"/>
                </a:srgbClr>
              </a:gs>
              <a:gs pos="35000">
                <a:srgbClr val="C44732">
                  <a:tint val="37000"/>
                  <a:satMod val="300000"/>
                </a:srgbClr>
              </a:gs>
              <a:gs pos="100000">
                <a:srgbClr val="C4473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C44732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/>
              <a:cs typeface="+mn-cs"/>
            </a:endParaRPr>
          </a:p>
        </p:txBody>
      </p:sp>
      <p:sp>
        <p:nvSpPr>
          <p:cNvPr id="74" name="Arc 9"/>
          <p:cNvSpPr>
            <a:spLocks/>
          </p:cNvSpPr>
          <p:nvPr/>
        </p:nvSpPr>
        <p:spPr bwMode="auto">
          <a:xfrm>
            <a:off x="1436354" y="1770013"/>
            <a:ext cx="5947403" cy="3740894"/>
          </a:xfrm>
          <a:custGeom>
            <a:avLst/>
            <a:gdLst>
              <a:gd name="G0" fmla="+- 21600 0 0"/>
              <a:gd name="G1" fmla="+- 21600 0 0"/>
              <a:gd name="G2" fmla="+- 21600 0 0"/>
              <a:gd name="T0" fmla="*/ 18774 w 41195"/>
              <a:gd name="T1" fmla="*/ 43014 h 43014"/>
              <a:gd name="T2" fmla="*/ 41195 w 41195"/>
              <a:gd name="T3" fmla="*/ 12512 h 43014"/>
              <a:gd name="T4" fmla="*/ 21600 w 41195"/>
              <a:gd name="T5" fmla="*/ 21600 h 430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1195" h="43014" fill="none" extrusionOk="0">
                <a:moveTo>
                  <a:pt x="18773" y="43014"/>
                </a:moveTo>
                <a:cubicBezTo>
                  <a:pt x="8030" y="41596"/>
                  <a:pt x="0" y="32436"/>
                  <a:pt x="0" y="21600"/>
                </a:cubicBezTo>
                <a:cubicBezTo>
                  <a:pt x="0" y="9670"/>
                  <a:pt x="9670" y="0"/>
                  <a:pt x="21600" y="0"/>
                </a:cubicBezTo>
                <a:cubicBezTo>
                  <a:pt x="30010" y="-1"/>
                  <a:pt x="37656" y="4882"/>
                  <a:pt x="41195" y="12511"/>
                </a:cubicBezTo>
              </a:path>
              <a:path w="41195" h="43014" stroke="0" extrusionOk="0">
                <a:moveTo>
                  <a:pt x="18773" y="43014"/>
                </a:moveTo>
                <a:cubicBezTo>
                  <a:pt x="8030" y="41596"/>
                  <a:pt x="0" y="32436"/>
                  <a:pt x="0" y="21600"/>
                </a:cubicBezTo>
                <a:cubicBezTo>
                  <a:pt x="0" y="9670"/>
                  <a:pt x="9670" y="0"/>
                  <a:pt x="21600" y="0"/>
                </a:cubicBezTo>
                <a:cubicBezTo>
                  <a:pt x="30010" y="-1"/>
                  <a:pt x="37656" y="4882"/>
                  <a:pt x="41195" y="12511"/>
                </a:cubicBezTo>
                <a:lnTo>
                  <a:pt x="21600" y="21600"/>
                </a:lnTo>
                <a:close/>
              </a:path>
            </a:pathLst>
          </a:custGeom>
          <a:noFill/>
          <a:ln w="38100">
            <a:solidFill>
              <a:srgbClr val="F67412">
                <a:lumMod val="75000"/>
              </a:srgbClr>
            </a:solidFill>
            <a:round/>
            <a:headEnd/>
            <a:tailEnd type="arrow" w="sm" len="lg"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5" name="Line 10"/>
          <p:cNvSpPr>
            <a:spLocks noChangeShapeType="1"/>
          </p:cNvSpPr>
          <p:nvPr/>
        </p:nvSpPr>
        <p:spPr bwMode="auto">
          <a:xfrm>
            <a:off x="1597015" y="3664044"/>
            <a:ext cx="6069741" cy="0"/>
          </a:xfrm>
          <a:prstGeom prst="line">
            <a:avLst/>
          </a:prstGeom>
          <a:noFill/>
          <a:ln w="28575">
            <a:solidFill>
              <a:srgbClr val="C0C0C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6" name="Line 11"/>
          <p:cNvSpPr>
            <a:spLocks noChangeShapeType="1"/>
          </p:cNvSpPr>
          <p:nvPr/>
        </p:nvSpPr>
        <p:spPr bwMode="auto">
          <a:xfrm>
            <a:off x="4599458" y="2396444"/>
            <a:ext cx="0" cy="2498351"/>
          </a:xfrm>
          <a:prstGeom prst="line">
            <a:avLst/>
          </a:prstGeom>
          <a:noFill/>
          <a:ln w="28575">
            <a:solidFill>
              <a:srgbClr val="C0C0C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7" name="Line 12"/>
          <p:cNvSpPr>
            <a:spLocks noChangeShapeType="1"/>
          </p:cNvSpPr>
          <p:nvPr/>
        </p:nvSpPr>
        <p:spPr bwMode="auto">
          <a:xfrm flipV="1">
            <a:off x="3228681" y="3028769"/>
            <a:ext cx="2871262" cy="1273496"/>
          </a:xfrm>
          <a:prstGeom prst="line">
            <a:avLst/>
          </a:prstGeom>
          <a:noFill/>
          <a:ln w="28575">
            <a:solidFill>
              <a:srgbClr val="F67412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8" name="Line 13"/>
          <p:cNvSpPr>
            <a:spLocks noChangeShapeType="1"/>
          </p:cNvSpPr>
          <p:nvPr/>
        </p:nvSpPr>
        <p:spPr bwMode="auto">
          <a:xfrm>
            <a:off x="1751780" y="2866634"/>
            <a:ext cx="4903844" cy="1364881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 type="triangle" w="med" len="med"/>
            <a:tailEnd type="triangle" w="med" len="med"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9" name="Line 14"/>
          <p:cNvSpPr>
            <a:spLocks noChangeShapeType="1"/>
          </p:cNvSpPr>
          <p:nvPr/>
        </p:nvSpPr>
        <p:spPr bwMode="auto">
          <a:xfrm flipH="1">
            <a:off x="3302379" y="1970471"/>
            <a:ext cx="2518987" cy="338419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 type="triangle" w="med" len="med"/>
            <a:tailEnd type="triangle" w="med" len="med"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0" name="Line 15"/>
          <p:cNvSpPr>
            <a:spLocks noChangeShapeType="1"/>
          </p:cNvSpPr>
          <p:nvPr/>
        </p:nvSpPr>
        <p:spPr bwMode="auto">
          <a:xfrm>
            <a:off x="3924387" y="2589531"/>
            <a:ext cx="1356037" cy="2146076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 type="triangle" w="med" len="med"/>
            <a:tailEnd type="triangle" w="med" len="med"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1" name="Oval 16"/>
          <p:cNvSpPr>
            <a:spLocks noChangeArrowheads="1"/>
          </p:cNvSpPr>
          <p:nvPr/>
        </p:nvSpPr>
        <p:spPr bwMode="auto">
          <a:xfrm>
            <a:off x="761283" y="3086254"/>
            <a:ext cx="1588922" cy="1157053"/>
          </a:xfrm>
          <a:prstGeom prst="ellipse">
            <a:avLst/>
          </a:prstGeom>
          <a:gradFill rotWithShape="0">
            <a:gsLst>
              <a:gs pos="0">
                <a:srgbClr val="FF6600"/>
              </a:gs>
              <a:gs pos="100000">
                <a:srgbClr val="FF6600">
                  <a:gamma/>
                  <a:shade val="36078"/>
                  <a:invGamma/>
                </a:srgbClr>
              </a:gs>
            </a:gsLst>
            <a:path path="rect">
              <a:fillToRect r="100000" b="100000"/>
            </a:path>
          </a:gra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latinLnBrk="1"/>
            <a:r>
              <a:rPr kumimoji="1" lang="zh-CN" altLang="en-US" b="1" dirty="0" smtClean="0">
                <a:solidFill>
                  <a:srgbClr val="FFFFFF"/>
                </a:solidFill>
                <a:ea typeface="HY각헤드라인M" pitchFamily="18" charset="-127"/>
              </a:rPr>
              <a:t>文本</a:t>
            </a:r>
            <a:endParaRPr kumimoji="1" lang="en-US" altLang="ko-KR" b="1" dirty="0">
              <a:solidFill>
                <a:srgbClr val="FFFFFF"/>
              </a:solidFill>
              <a:ea typeface="HY각헤드라인M" pitchFamily="18" charset="-127"/>
            </a:endParaRPr>
          </a:p>
        </p:txBody>
      </p:sp>
      <p:sp>
        <p:nvSpPr>
          <p:cNvPr id="82" name="Oval 17"/>
          <p:cNvSpPr>
            <a:spLocks noChangeArrowheads="1"/>
          </p:cNvSpPr>
          <p:nvPr/>
        </p:nvSpPr>
        <p:spPr bwMode="auto">
          <a:xfrm>
            <a:off x="6801545" y="3086254"/>
            <a:ext cx="1588922" cy="1157053"/>
          </a:xfrm>
          <a:prstGeom prst="ellipse">
            <a:avLst/>
          </a:prstGeom>
          <a:gradFill rotWithShape="0">
            <a:gsLst>
              <a:gs pos="0">
                <a:srgbClr val="FF6600"/>
              </a:gs>
              <a:gs pos="100000">
                <a:srgbClr val="FF6600">
                  <a:gamma/>
                  <a:shade val="36078"/>
                  <a:invGamma/>
                </a:srgbClr>
              </a:gs>
            </a:gsLst>
            <a:path path="rect">
              <a:fillToRect r="100000" b="100000"/>
            </a:path>
          </a:gra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latinLnBrk="1"/>
            <a:r>
              <a:rPr kumimoji="1" lang="zh-CN" altLang="en-US" b="1" dirty="0" smtClean="0">
                <a:solidFill>
                  <a:srgbClr val="FFFFFF"/>
                </a:solidFill>
                <a:ea typeface="HY각헤드라인M" pitchFamily="18" charset="-127"/>
              </a:rPr>
              <a:t>文本</a:t>
            </a:r>
            <a:endParaRPr kumimoji="1" lang="en-US" altLang="ko-KR" b="1" dirty="0">
              <a:solidFill>
                <a:srgbClr val="FFFFFF"/>
              </a:solidFill>
              <a:ea typeface="HY각헤드라인M" pitchFamily="18" charset="-127"/>
            </a:endParaRPr>
          </a:p>
        </p:txBody>
      </p:sp>
      <p:sp>
        <p:nvSpPr>
          <p:cNvPr id="83" name="Oval 18"/>
          <p:cNvSpPr>
            <a:spLocks noChangeArrowheads="1"/>
          </p:cNvSpPr>
          <p:nvPr/>
        </p:nvSpPr>
        <p:spPr bwMode="auto">
          <a:xfrm>
            <a:off x="3797627" y="4910563"/>
            <a:ext cx="1587449" cy="1157053"/>
          </a:xfrm>
          <a:prstGeom prst="ellipse">
            <a:avLst/>
          </a:prstGeom>
          <a:gradFill rotWithShape="0">
            <a:gsLst>
              <a:gs pos="0">
                <a:srgbClr val="FF6600"/>
              </a:gs>
              <a:gs pos="100000">
                <a:srgbClr val="FF6600">
                  <a:gamma/>
                  <a:shade val="36078"/>
                  <a:invGamma/>
                </a:srgbClr>
              </a:gs>
            </a:gsLst>
            <a:path path="rect">
              <a:fillToRect r="100000" b="100000"/>
            </a:path>
          </a:gra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latinLnBrk="1"/>
            <a:r>
              <a:rPr kumimoji="1" lang="zh-CN" altLang="en-US" b="1" dirty="0" smtClean="0">
                <a:solidFill>
                  <a:srgbClr val="FFFFFF"/>
                </a:solidFill>
                <a:ea typeface="HY각헤드라인M" pitchFamily="18" charset="-127"/>
              </a:rPr>
              <a:t>文本</a:t>
            </a:r>
            <a:endParaRPr kumimoji="1" lang="en-US" altLang="ko-KR" b="1" dirty="0">
              <a:solidFill>
                <a:srgbClr val="FFFFFF"/>
              </a:solidFill>
              <a:ea typeface="HY각헤드라인M" pitchFamily="18" charset="-127"/>
            </a:endParaRPr>
          </a:p>
        </p:txBody>
      </p:sp>
      <p:sp>
        <p:nvSpPr>
          <p:cNvPr id="84" name="Oval 19"/>
          <p:cNvSpPr>
            <a:spLocks noChangeArrowheads="1"/>
          </p:cNvSpPr>
          <p:nvPr/>
        </p:nvSpPr>
        <p:spPr bwMode="auto">
          <a:xfrm>
            <a:off x="2413585" y="4073803"/>
            <a:ext cx="872531" cy="897637"/>
          </a:xfrm>
          <a:prstGeom prst="ellipse">
            <a:avLst/>
          </a:prstGeom>
          <a:gradFill rotWithShape="1">
            <a:gsLst>
              <a:gs pos="0">
                <a:srgbClr val="FFC000">
                  <a:shade val="51000"/>
                  <a:satMod val="130000"/>
                </a:srgbClr>
              </a:gs>
              <a:gs pos="80000">
                <a:srgbClr val="FFC000">
                  <a:shade val="93000"/>
                  <a:satMod val="130000"/>
                </a:srgbClr>
              </a:gs>
              <a:gs pos="100000">
                <a:srgbClr val="FFC000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FC000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Gulim" pitchFamily="34" charset="-127"/>
                <a:cs typeface="+mn-cs"/>
              </a:rPr>
              <a:t>文本</a:t>
            </a:r>
            <a:endParaRPr kumimoji="1" lang="en-US" altLang="ko-KR" sz="13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Gulim" pitchFamily="34" charset="-127"/>
              <a:cs typeface="+mn-cs"/>
            </a:endParaRPr>
          </a:p>
        </p:txBody>
      </p:sp>
      <p:sp>
        <p:nvSpPr>
          <p:cNvPr id="85" name="Oval 21"/>
          <p:cNvSpPr>
            <a:spLocks noChangeArrowheads="1"/>
          </p:cNvSpPr>
          <p:nvPr/>
        </p:nvSpPr>
        <p:spPr bwMode="auto">
          <a:xfrm>
            <a:off x="6000760" y="2423415"/>
            <a:ext cx="928694" cy="897637"/>
          </a:xfrm>
          <a:prstGeom prst="ellipse">
            <a:avLst/>
          </a:prstGeom>
          <a:gradFill rotWithShape="1">
            <a:gsLst>
              <a:gs pos="0">
                <a:srgbClr val="FFC000">
                  <a:shade val="51000"/>
                  <a:satMod val="130000"/>
                </a:srgbClr>
              </a:gs>
              <a:gs pos="80000">
                <a:srgbClr val="FFC000">
                  <a:shade val="93000"/>
                  <a:satMod val="130000"/>
                </a:srgbClr>
              </a:gs>
              <a:gs pos="100000">
                <a:srgbClr val="FFC000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FC000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Gulim" pitchFamily="34" charset="-127"/>
                <a:cs typeface="+mn-cs"/>
              </a:rPr>
              <a:t>文本</a:t>
            </a:r>
            <a:endParaRPr kumimoji="1" lang="en-US" altLang="ko-KR" sz="13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Gulim" pitchFamily="34" charset="-127"/>
              <a:cs typeface="+mn-cs"/>
            </a:endParaRPr>
          </a:p>
        </p:txBody>
      </p:sp>
      <p:sp>
        <p:nvSpPr>
          <p:cNvPr id="86" name="Oval 23"/>
          <p:cNvSpPr>
            <a:spLocks noChangeArrowheads="1"/>
          </p:cNvSpPr>
          <p:nvPr/>
        </p:nvSpPr>
        <p:spPr bwMode="auto">
          <a:xfrm>
            <a:off x="3787310" y="1295400"/>
            <a:ext cx="1588922" cy="1157054"/>
          </a:xfrm>
          <a:prstGeom prst="ellipse">
            <a:avLst/>
          </a:prstGeom>
          <a:gradFill rotWithShape="0">
            <a:gsLst>
              <a:gs pos="0">
                <a:srgbClr val="FF6600"/>
              </a:gs>
              <a:gs pos="100000">
                <a:srgbClr val="FF6600">
                  <a:gamma/>
                  <a:shade val="36078"/>
                  <a:invGamma/>
                </a:srgbClr>
              </a:gs>
            </a:gsLst>
            <a:path path="rect">
              <a:fillToRect r="100000" b="100000"/>
            </a:path>
          </a:gra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latinLnBrk="1"/>
            <a:r>
              <a:rPr kumimoji="1" lang="zh-CN" altLang="en-US" b="1" dirty="0" smtClean="0">
                <a:solidFill>
                  <a:srgbClr val="FFFFFF"/>
                </a:solidFill>
                <a:ea typeface="HY각헤드라인M" pitchFamily="18" charset="-127"/>
              </a:rPr>
              <a:t>文本</a:t>
            </a:r>
            <a:endParaRPr kumimoji="1" lang="en-US" altLang="ko-KR" b="1" dirty="0">
              <a:solidFill>
                <a:srgbClr val="FFFFFF"/>
              </a:solidFill>
              <a:ea typeface="HY각헤드라인M" pitchFamily="18" charset="-127"/>
            </a:endParaRPr>
          </a:p>
        </p:txBody>
      </p:sp>
      <p:sp>
        <p:nvSpPr>
          <p:cNvPr id="87" name="Line 24"/>
          <p:cNvSpPr>
            <a:spLocks noChangeShapeType="1"/>
          </p:cNvSpPr>
          <p:nvPr/>
        </p:nvSpPr>
        <p:spPr bwMode="auto">
          <a:xfrm>
            <a:off x="3390816" y="2884322"/>
            <a:ext cx="2579419" cy="1568287"/>
          </a:xfrm>
          <a:prstGeom prst="line">
            <a:avLst/>
          </a:prstGeom>
          <a:noFill/>
          <a:ln w="28575">
            <a:solidFill>
              <a:srgbClr val="F67412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8" name="Oval 25"/>
          <p:cNvSpPr>
            <a:spLocks noChangeArrowheads="1"/>
          </p:cNvSpPr>
          <p:nvPr/>
        </p:nvSpPr>
        <p:spPr bwMode="auto">
          <a:xfrm>
            <a:off x="5857884" y="4280803"/>
            <a:ext cx="965212" cy="897638"/>
          </a:xfrm>
          <a:prstGeom prst="ellipse">
            <a:avLst/>
          </a:prstGeom>
          <a:gradFill rotWithShape="1">
            <a:gsLst>
              <a:gs pos="0">
                <a:srgbClr val="FFC000">
                  <a:shade val="51000"/>
                  <a:satMod val="130000"/>
                </a:srgbClr>
              </a:gs>
              <a:gs pos="80000">
                <a:srgbClr val="FFC000">
                  <a:shade val="93000"/>
                  <a:satMod val="130000"/>
                </a:srgbClr>
              </a:gs>
              <a:gs pos="100000">
                <a:srgbClr val="FFC000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FC000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Gulim" pitchFamily="34" charset="-127"/>
                <a:cs typeface="+mn-cs"/>
              </a:rPr>
              <a:t>文本</a:t>
            </a:r>
            <a:endParaRPr kumimoji="1" lang="en-US" altLang="ko-KR" sz="13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Gulim" pitchFamily="34" charset="-127"/>
              <a:cs typeface="+mn-cs"/>
            </a:endParaRPr>
          </a:p>
        </p:txBody>
      </p:sp>
      <p:sp>
        <p:nvSpPr>
          <p:cNvPr id="89" name="Oval 26"/>
          <p:cNvSpPr>
            <a:spLocks noChangeArrowheads="1"/>
          </p:cNvSpPr>
          <p:nvPr/>
        </p:nvSpPr>
        <p:spPr bwMode="auto">
          <a:xfrm>
            <a:off x="3228681" y="3028769"/>
            <a:ext cx="2741554" cy="1273496"/>
          </a:xfrm>
          <a:prstGeom prst="ellipse">
            <a:avLst/>
          </a:prstGeom>
          <a:gradFill rotWithShape="1">
            <a:gsLst>
              <a:gs pos="0">
                <a:srgbClr val="FFFFFF">
                  <a:shade val="51000"/>
                  <a:satMod val="130000"/>
                </a:srgbClr>
              </a:gs>
              <a:gs pos="80000">
                <a:srgbClr val="FFFFFF">
                  <a:shade val="93000"/>
                  <a:satMod val="130000"/>
                </a:srgbClr>
              </a:gs>
              <a:gs pos="100000">
                <a:srgbClr val="FFFFFF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FFFFF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宋体"/>
              <a:cs typeface="+mn-cs"/>
            </a:endParaRPr>
          </a:p>
        </p:txBody>
      </p:sp>
      <p:sp>
        <p:nvSpPr>
          <p:cNvPr id="90" name="Oval 27"/>
          <p:cNvSpPr>
            <a:spLocks noChangeArrowheads="1"/>
          </p:cNvSpPr>
          <p:nvPr/>
        </p:nvSpPr>
        <p:spPr bwMode="auto">
          <a:xfrm>
            <a:off x="3558847" y="3137795"/>
            <a:ext cx="2079749" cy="1064194"/>
          </a:xfrm>
          <a:prstGeom prst="ellipse">
            <a:avLst/>
          </a:prstGeom>
          <a:gradFill rotWithShape="0">
            <a:gsLst>
              <a:gs pos="0">
                <a:srgbClr val="A50021"/>
              </a:gs>
              <a:gs pos="50000">
                <a:srgbClr val="A50021">
                  <a:gamma/>
                  <a:shade val="46275"/>
                  <a:invGamma/>
                </a:srgbClr>
              </a:gs>
              <a:gs pos="100000">
                <a:srgbClr val="A50021"/>
              </a:gs>
            </a:gsLst>
            <a:lin ang="2700000" scaled="1"/>
          </a:gra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latinLnBrk="1">
              <a:lnSpc>
                <a:spcPct val="90000"/>
              </a:lnSpc>
            </a:pPr>
            <a:r>
              <a:rPr lang="zh-CN" altLang="en-US" sz="2000" dirty="0" smtClean="0">
                <a:solidFill>
                  <a:srgbClr val="FFFFFF"/>
                </a:solidFill>
                <a:latin typeface="Arial Black" pitchFamily="34" charset="0"/>
                <a:ea typeface="HY견고딕" pitchFamily="18" charset="-127"/>
              </a:rPr>
              <a:t>文本</a:t>
            </a:r>
            <a:endParaRPr lang="en-US" altLang="ko-KR" sz="2000" dirty="0">
              <a:solidFill>
                <a:srgbClr val="FFFFFF"/>
              </a:solidFill>
              <a:latin typeface="Arial Black" pitchFamily="34" charset="0"/>
              <a:ea typeface="HY견고딕" pitchFamily="18" charset="-127"/>
            </a:endParaRPr>
          </a:p>
        </p:txBody>
      </p:sp>
      <p:sp>
        <p:nvSpPr>
          <p:cNvPr id="91" name="Oval 20"/>
          <p:cNvSpPr>
            <a:spLocks noChangeArrowheads="1"/>
          </p:cNvSpPr>
          <p:nvPr/>
        </p:nvSpPr>
        <p:spPr bwMode="auto">
          <a:xfrm>
            <a:off x="2571736" y="2209101"/>
            <a:ext cx="925205" cy="897638"/>
          </a:xfrm>
          <a:prstGeom prst="ellipse">
            <a:avLst/>
          </a:prstGeom>
          <a:gradFill rotWithShape="1">
            <a:gsLst>
              <a:gs pos="0">
                <a:srgbClr val="FFC000">
                  <a:shade val="51000"/>
                  <a:satMod val="130000"/>
                </a:srgbClr>
              </a:gs>
              <a:gs pos="80000">
                <a:srgbClr val="FFC000">
                  <a:shade val="93000"/>
                  <a:satMod val="130000"/>
                </a:srgbClr>
              </a:gs>
              <a:gs pos="100000">
                <a:srgbClr val="FFC000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FC000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Gulim" pitchFamily="34" charset="-127"/>
                <a:cs typeface="+mn-cs"/>
              </a:rPr>
              <a:t>文本</a:t>
            </a:r>
            <a:endParaRPr kumimoji="1" lang="en-US" altLang="ko-KR" sz="13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Gulim" pitchFamily="34" charset="-127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000"/>
                            </p:stCondLst>
                            <p:childTnLst>
                              <p:par>
                                <p:cTn id="2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0"/>
                            </p:stCondLst>
                            <p:childTnLst>
                              <p:par>
                                <p:cTn id="3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6000"/>
                            </p:stCondLst>
                            <p:childTnLst>
                              <p:par>
                                <p:cTn id="3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7000"/>
                            </p:stCondLst>
                            <p:childTnLst>
                              <p:par>
                                <p:cTn id="4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8000"/>
                            </p:stCondLst>
                            <p:childTnLst>
                              <p:par>
                                <p:cTn id="4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9000"/>
                            </p:stCondLst>
                            <p:childTnLst>
                              <p:par>
                                <p:cTn id="5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0000"/>
                            </p:stCondLst>
                            <p:childTnLst>
                              <p:par>
                                <p:cTn id="5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" grpId="0" animBg="1"/>
      <p:bldP spid="81" grpId="0" animBg="1"/>
      <p:bldP spid="82" grpId="0" animBg="1"/>
      <p:bldP spid="83" grpId="0" animBg="1"/>
      <p:bldP spid="84" grpId="0" animBg="1"/>
      <p:bldP spid="85" grpId="0" animBg="1"/>
      <p:bldP spid="86" grpId="0" animBg="1"/>
      <p:bldP spid="88" grpId="0" animBg="1"/>
      <p:bldP spid="89" grpId="0" animBg="1"/>
      <p:bldP spid="90" grpId="0" animBg="1"/>
      <p:bldP spid="91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Rectangle 69"/>
          <p:cNvSpPr>
            <a:spLocks noChangeArrowheads="1"/>
          </p:cNvSpPr>
          <p:nvPr/>
        </p:nvSpPr>
        <p:spPr bwMode="auto">
          <a:xfrm>
            <a:off x="1760510" y="5284788"/>
            <a:ext cx="7556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008</a:t>
            </a: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年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3" name="Rectangle 70"/>
          <p:cNvSpPr>
            <a:spLocks noChangeArrowheads="1"/>
          </p:cNvSpPr>
          <p:nvPr/>
        </p:nvSpPr>
        <p:spPr bwMode="auto">
          <a:xfrm>
            <a:off x="2984472" y="5284788"/>
            <a:ext cx="76174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009</a:t>
            </a: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年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4" name="Rectangle 71"/>
          <p:cNvSpPr>
            <a:spLocks noChangeArrowheads="1"/>
          </p:cNvSpPr>
          <p:nvPr/>
        </p:nvSpPr>
        <p:spPr bwMode="auto">
          <a:xfrm>
            <a:off x="4243360" y="5284788"/>
            <a:ext cx="76174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010</a:t>
            </a: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年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5" name="Rectangle 72"/>
          <p:cNvSpPr>
            <a:spLocks noChangeArrowheads="1"/>
          </p:cNvSpPr>
          <p:nvPr/>
        </p:nvSpPr>
        <p:spPr bwMode="auto">
          <a:xfrm>
            <a:off x="5395885" y="5284788"/>
            <a:ext cx="75187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011</a:t>
            </a: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年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6" name="Rectangle 73"/>
          <p:cNvSpPr>
            <a:spLocks noChangeArrowheads="1"/>
          </p:cNvSpPr>
          <p:nvPr/>
        </p:nvSpPr>
        <p:spPr bwMode="auto">
          <a:xfrm>
            <a:off x="6692872" y="5284788"/>
            <a:ext cx="76174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012</a:t>
            </a: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年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157" name="Group 85"/>
          <p:cNvGrpSpPr>
            <a:grpSpLocks/>
          </p:cNvGrpSpPr>
          <p:nvPr/>
        </p:nvGrpSpPr>
        <p:grpSpPr bwMode="auto">
          <a:xfrm>
            <a:off x="2011335" y="3222625"/>
            <a:ext cx="647700" cy="1995488"/>
            <a:chOff x="1383" y="1987"/>
            <a:chExt cx="408" cy="1257"/>
          </a:xfrm>
        </p:grpSpPr>
        <p:pic>
          <p:nvPicPr>
            <p:cNvPr id="158" name="Picture 40" descr="11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428" y="2115"/>
              <a:ext cx="328" cy="11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9" name="Rectangle 75"/>
            <p:cNvSpPr>
              <a:spLocks noChangeArrowheads="1"/>
            </p:cNvSpPr>
            <p:nvPr/>
          </p:nvSpPr>
          <p:spPr bwMode="auto">
            <a:xfrm>
              <a:off x="1383" y="1987"/>
              <a:ext cx="408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161.29</a:t>
              </a:r>
              <a:endParaRPr kumimoji="0" lang="zh-CN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60" name="Group 87"/>
          <p:cNvGrpSpPr>
            <a:grpSpLocks/>
          </p:cNvGrpSpPr>
          <p:nvPr/>
        </p:nvGrpSpPr>
        <p:grpSpPr bwMode="auto">
          <a:xfrm>
            <a:off x="3235297" y="3063875"/>
            <a:ext cx="593725" cy="2163763"/>
            <a:chOff x="2154" y="1888"/>
            <a:chExt cx="374" cy="1363"/>
          </a:xfrm>
        </p:grpSpPr>
        <p:pic>
          <p:nvPicPr>
            <p:cNvPr id="161" name="Picture 38" descr="2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200" y="2024"/>
              <a:ext cx="328" cy="12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2" name="Rectangle 77"/>
            <p:cNvSpPr>
              <a:spLocks noChangeArrowheads="1"/>
            </p:cNvSpPr>
            <p:nvPr/>
          </p:nvSpPr>
          <p:spPr bwMode="auto">
            <a:xfrm>
              <a:off x="2154" y="1888"/>
              <a:ext cx="355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178.1</a:t>
              </a:r>
              <a:endParaRPr kumimoji="0" lang="zh-CN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63" name="Group 89"/>
          <p:cNvGrpSpPr>
            <a:grpSpLocks/>
          </p:cNvGrpSpPr>
          <p:nvPr/>
        </p:nvGrpSpPr>
        <p:grpSpPr bwMode="auto">
          <a:xfrm>
            <a:off x="4459260" y="2613025"/>
            <a:ext cx="647700" cy="2593975"/>
            <a:chOff x="2925" y="1616"/>
            <a:chExt cx="408" cy="1634"/>
          </a:xfrm>
        </p:grpSpPr>
        <p:pic>
          <p:nvPicPr>
            <p:cNvPr id="164" name="Picture 34" descr="3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971" y="1752"/>
              <a:ext cx="328" cy="14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5" name="Rectangle 79"/>
            <p:cNvSpPr>
              <a:spLocks noChangeArrowheads="1"/>
            </p:cNvSpPr>
            <p:nvPr/>
          </p:nvSpPr>
          <p:spPr bwMode="auto">
            <a:xfrm>
              <a:off x="2925" y="1616"/>
              <a:ext cx="408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204.83</a:t>
              </a:r>
              <a:endParaRPr kumimoji="0" lang="zh-CN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66" name="Group 91"/>
          <p:cNvGrpSpPr>
            <a:grpSpLocks/>
          </p:cNvGrpSpPr>
          <p:nvPr/>
        </p:nvGrpSpPr>
        <p:grpSpPr bwMode="auto">
          <a:xfrm>
            <a:off x="5683222" y="2462213"/>
            <a:ext cx="593725" cy="2767012"/>
            <a:chOff x="3696" y="1525"/>
            <a:chExt cx="374" cy="1743"/>
          </a:xfrm>
        </p:grpSpPr>
        <p:pic>
          <p:nvPicPr>
            <p:cNvPr id="167" name="Picture 36" descr="4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742" y="1661"/>
              <a:ext cx="328" cy="16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8" name="Rectangle 81"/>
            <p:cNvSpPr>
              <a:spLocks noChangeArrowheads="1"/>
            </p:cNvSpPr>
            <p:nvPr/>
          </p:nvSpPr>
          <p:spPr bwMode="auto">
            <a:xfrm>
              <a:off x="3696" y="1525"/>
              <a:ext cx="355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211.8</a:t>
              </a:r>
              <a:endParaRPr kumimoji="0" lang="zh-CN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69" name="Group 93"/>
          <p:cNvGrpSpPr>
            <a:grpSpLocks/>
          </p:cNvGrpSpPr>
          <p:nvPr/>
        </p:nvGrpSpPr>
        <p:grpSpPr bwMode="auto">
          <a:xfrm>
            <a:off x="6908772" y="1989138"/>
            <a:ext cx="647700" cy="3243262"/>
            <a:chOff x="4468" y="1253"/>
            <a:chExt cx="408" cy="2043"/>
          </a:xfrm>
        </p:grpSpPr>
        <p:pic>
          <p:nvPicPr>
            <p:cNvPr id="170" name="Picture 30" descr="55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513" y="1389"/>
              <a:ext cx="328" cy="1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1" name="Rectangle 83"/>
            <p:cNvSpPr>
              <a:spLocks noChangeArrowheads="1"/>
            </p:cNvSpPr>
            <p:nvPr/>
          </p:nvSpPr>
          <p:spPr bwMode="auto">
            <a:xfrm>
              <a:off x="4468" y="1253"/>
              <a:ext cx="408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273.92</a:t>
              </a:r>
              <a:endParaRPr kumimoji="0" lang="zh-CN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72" name="Group 84"/>
          <p:cNvGrpSpPr>
            <a:grpSpLocks/>
          </p:cNvGrpSpPr>
          <p:nvPr/>
        </p:nvGrpSpPr>
        <p:grpSpPr bwMode="auto">
          <a:xfrm>
            <a:off x="1592235" y="4230688"/>
            <a:ext cx="579437" cy="998537"/>
            <a:chOff x="1119" y="2622"/>
            <a:chExt cx="365" cy="629"/>
          </a:xfrm>
        </p:grpSpPr>
        <p:pic>
          <p:nvPicPr>
            <p:cNvPr id="173" name="Picture 41" descr="1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156" y="2750"/>
              <a:ext cx="328" cy="5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4" name="Rectangle 74"/>
            <p:cNvSpPr>
              <a:spLocks noChangeArrowheads="1"/>
            </p:cNvSpPr>
            <p:nvPr/>
          </p:nvSpPr>
          <p:spPr bwMode="auto">
            <a:xfrm>
              <a:off x="1119" y="2622"/>
              <a:ext cx="355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58.27</a:t>
              </a:r>
              <a:endParaRPr kumimoji="0" lang="zh-CN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75" name="Group 86"/>
          <p:cNvGrpSpPr>
            <a:grpSpLocks/>
          </p:cNvGrpSpPr>
          <p:nvPr/>
        </p:nvGrpSpPr>
        <p:grpSpPr bwMode="auto">
          <a:xfrm>
            <a:off x="2874935" y="4157663"/>
            <a:ext cx="522287" cy="1071562"/>
            <a:chOff x="1927" y="2577"/>
            <a:chExt cx="329" cy="675"/>
          </a:xfrm>
        </p:grpSpPr>
        <p:pic>
          <p:nvPicPr>
            <p:cNvPr id="176" name="Picture 39" descr="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928" y="2705"/>
              <a:ext cx="328" cy="5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7" name="Rectangle 76"/>
            <p:cNvSpPr>
              <a:spLocks noChangeArrowheads="1"/>
            </p:cNvSpPr>
            <p:nvPr/>
          </p:nvSpPr>
          <p:spPr bwMode="auto">
            <a:xfrm>
              <a:off x="1927" y="2577"/>
              <a:ext cx="302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64.1</a:t>
              </a:r>
              <a:endParaRPr kumimoji="0" lang="zh-CN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78" name="Group 88"/>
          <p:cNvGrpSpPr>
            <a:grpSpLocks/>
          </p:cNvGrpSpPr>
          <p:nvPr/>
        </p:nvGrpSpPr>
        <p:grpSpPr bwMode="auto">
          <a:xfrm>
            <a:off x="4027460" y="4052888"/>
            <a:ext cx="593725" cy="1176337"/>
            <a:chOff x="2653" y="2523"/>
            <a:chExt cx="374" cy="741"/>
          </a:xfrm>
        </p:grpSpPr>
        <p:pic>
          <p:nvPicPr>
            <p:cNvPr id="179" name="Picture 35" descr="3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2699" y="2659"/>
              <a:ext cx="328" cy="6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0" name="Rectangle 78"/>
            <p:cNvSpPr>
              <a:spLocks noChangeArrowheads="1"/>
            </p:cNvSpPr>
            <p:nvPr/>
          </p:nvSpPr>
          <p:spPr bwMode="auto">
            <a:xfrm>
              <a:off x="2653" y="2523"/>
              <a:ext cx="355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74.61</a:t>
              </a:r>
              <a:endParaRPr kumimoji="0" lang="zh-CN" altLang="en-US" sz="12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81" name="Group 90"/>
          <p:cNvGrpSpPr>
            <a:grpSpLocks/>
          </p:cNvGrpSpPr>
          <p:nvPr/>
        </p:nvGrpSpPr>
        <p:grpSpPr bwMode="auto">
          <a:xfrm>
            <a:off x="5251422" y="2676525"/>
            <a:ext cx="592138" cy="2551113"/>
            <a:chOff x="3424" y="1660"/>
            <a:chExt cx="373" cy="1607"/>
          </a:xfrm>
        </p:grpSpPr>
        <p:pic>
          <p:nvPicPr>
            <p:cNvPr id="182" name="Picture 37" descr="4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3469" y="1660"/>
              <a:ext cx="328" cy="16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3" name="Rectangle 80"/>
            <p:cNvSpPr>
              <a:spLocks noChangeArrowheads="1"/>
            </p:cNvSpPr>
            <p:nvPr/>
          </p:nvSpPr>
          <p:spPr bwMode="auto">
            <a:xfrm>
              <a:off x="3424" y="2478"/>
              <a:ext cx="355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83.23</a:t>
              </a:r>
              <a:endParaRPr kumimoji="0" lang="zh-CN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84" name="Group 92"/>
          <p:cNvGrpSpPr>
            <a:grpSpLocks/>
          </p:cNvGrpSpPr>
          <p:nvPr/>
        </p:nvGrpSpPr>
        <p:grpSpPr bwMode="auto">
          <a:xfrm>
            <a:off x="6500785" y="3875088"/>
            <a:ext cx="568325" cy="1354137"/>
            <a:chOff x="4211" y="2441"/>
            <a:chExt cx="358" cy="853"/>
          </a:xfrm>
        </p:grpSpPr>
        <p:pic>
          <p:nvPicPr>
            <p:cNvPr id="185" name="Picture 31" descr="5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4241" y="2574"/>
              <a:ext cx="328" cy="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6" name="Rectangle 82"/>
            <p:cNvSpPr>
              <a:spLocks noChangeArrowheads="1"/>
            </p:cNvSpPr>
            <p:nvPr/>
          </p:nvSpPr>
          <p:spPr bwMode="auto">
            <a:xfrm>
              <a:off x="4211" y="2441"/>
              <a:ext cx="302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98.4</a:t>
              </a:r>
              <a:endParaRPr kumimoji="0" lang="zh-CN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1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5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4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8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7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000"/>
                            </p:stCondLst>
                            <p:childTnLst>
                              <p:par>
                                <p:cTn id="39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1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"/>
                            </p:stCondLst>
                            <p:childTnLst>
                              <p:par>
                                <p:cTn id="48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0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1000"/>
                            </p:stCondLst>
                            <p:childTnLst>
                              <p:par>
                                <p:cTn id="52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4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"/>
                            </p:stCondLst>
                            <p:childTnLst>
                              <p:par>
                                <p:cTn id="61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3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000"/>
                            </p:stCondLst>
                            <p:childTnLst>
                              <p:par>
                                <p:cTn id="6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7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2" grpId="0"/>
      <p:bldP spid="153" grpId="0"/>
      <p:bldP spid="154" grpId="0"/>
      <p:bldP spid="155" grpId="0"/>
      <p:bldP spid="15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组合 67"/>
          <p:cNvGrpSpPr/>
          <p:nvPr/>
        </p:nvGrpSpPr>
        <p:grpSpPr>
          <a:xfrm>
            <a:off x="944562" y="1676400"/>
            <a:ext cx="3429000" cy="3429000"/>
            <a:chOff x="828675" y="1760538"/>
            <a:chExt cx="3429000" cy="3429000"/>
          </a:xfrm>
        </p:grpSpPr>
        <p:sp>
          <p:nvSpPr>
            <p:cNvPr id="69" name="Freeform 675"/>
            <p:cNvSpPr>
              <a:spLocks noEditPoints="1"/>
            </p:cNvSpPr>
            <p:nvPr/>
          </p:nvSpPr>
          <p:spPr bwMode="auto">
            <a:xfrm rot="21275257">
              <a:off x="828675" y="1760538"/>
              <a:ext cx="3429000" cy="3429000"/>
            </a:xfrm>
            <a:custGeom>
              <a:avLst/>
              <a:gdLst>
                <a:gd name="T0" fmla="*/ 0 w 2622"/>
                <a:gd name="T1" fmla="*/ 0 h 2622"/>
                <a:gd name="T2" fmla="*/ 2622 w 2622"/>
                <a:gd name="T3" fmla="*/ 2622 h 2622"/>
              </a:gdLst>
              <a:ahLst/>
              <a:cxnLst>
                <a:cxn ang="0">
                  <a:pos x="2512" y="1152"/>
                </a:cxn>
                <a:cxn ang="0">
                  <a:pos x="2460" y="930"/>
                </a:cxn>
                <a:cxn ang="0">
                  <a:pos x="2482" y="718"/>
                </a:cxn>
                <a:cxn ang="0">
                  <a:pos x="2244" y="540"/>
                </a:cxn>
                <a:cxn ang="0">
                  <a:pos x="2082" y="378"/>
                </a:cxn>
                <a:cxn ang="0">
                  <a:pos x="1906" y="140"/>
                </a:cxn>
                <a:cxn ang="0">
                  <a:pos x="1694" y="162"/>
                </a:cxn>
                <a:cxn ang="0">
                  <a:pos x="1470" y="112"/>
                </a:cxn>
                <a:cxn ang="0">
                  <a:pos x="1240" y="104"/>
                </a:cxn>
                <a:cxn ang="0">
                  <a:pos x="1042" y="26"/>
                </a:cxn>
                <a:cxn ang="0">
                  <a:pos x="808" y="210"/>
                </a:cxn>
                <a:cxn ang="0">
                  <a:pos x="610" y="326"/>
                </a:cxn>
                <a:cxn ang="0">
                  <a:pos x="334" y="434"/>
                </a:cxn>
                <a:cxn ang="0">
                  <a:pos x="302" y="646"/>
                </a:cxn>
                <a:cxn ang="0">
                  <a:pos x="194" y="848"/>
                </a:cxn>
                <a:cxn ang="0">
                  <a:pos x="126" y="1068"/>
                </a:cxn>
                <a:cxn ang="0">
                  <a:pos x="0" y="1240"/>
                </a:cxn>
                <a:cxn ang="0">
                  <a:pos x="118" y="1512"/>
                </a:cxn>
                <a:cxn ang="0">
                  <a:pos x="178" y="1734"/>
                </a:cxn>
                <a:cxn ang="0">
                  <a:pos x="212" y="2028"/>
                </a:cxn>
                <a:cxn ang="0">
                  <a:pos x="408" y="2116"/>
                </a:cxn>
                <a:cxn ang="0">
                  <a:pos x="576" y="2272"/>
                </a:cxn>
                <a:cxn ang="0">
                  <a:pos x="770" y="2394"/>
                </a:cxn>
                <a:cxn ang="0">
                  <a:pos x="904" y="2560"/>
                </a:cxn>
                <a:cxn ang="0">
                  <a:pos x="1196" y="2516"/>
                </a:cxn>
                <a:cxn ang="0">
                  <a:pos x="1426" y="2516"/>
                </a:cxn>
                <a:cxn ang="0">
                  <a:pos x="1720" y="2560"/>
                </a:cxn>
                <a:cxn ang="0">
                  <a:pos x="1854" y="2394"/>
                </a:cxn>
                <a:cxn ang="0">
                  <a:pos x="2048" y="2272"/>
                </a:cxn>
                <a:cxn ang="0">
                  <a:pos x="2216" y="2116"/>
                </a:cxn>
                <a:cxn ang="0">
                  <a:pos x="2412" y="2028"/>
                </a:cxn>
                <a:cxn ang="0">
                  <a:pos x="2446" y="1734"/>
                </a:cxn>
                <a:cxn ang="0">
                  <a:pos x="2506" y="1512"/>
                </a:cxn>
                <a:cxn ang="0">
                  <a:pos x="1312" y="2420"/>
                </a:cxn>
                <a:cxn ang="0">
                  <a:pos x="1088" y="2398"/>
                </a:cxn>
                <a:cxn ang="0">
                  <a:pos x="830" y="2312"/>
                </a:cxn>
                <a:cxn ang="0">
                  <a:pos x="606" y="2168"/>
                </a:cxn>
                <a:cxn ang="0">
                  <a:pos x="422" y="1976"/>
                </a:cxn>
                <a:cxn ang="0">
                  <a:pos x="290" y="1744"/>
                </a:cxn>
                <a:cxn ang="0">
                  <a:pos x="216" y="1480"/>
                </a:cxn>
                <a:cxn ang="0">
                  <a:pos x="208" y="1198"/>
                </a:cxn>
                <a:cxn ang="0">
                  <a:pos x="270" y="930"/>
                </a:cxn>
                <a:cxn ang="0">
                  <a:pos x="392" y="692"/>
                </a:cxn>
                <a:cxn ang="0">
                  <a:pos x="566" y="490"/>
                </a:cxn>
                <a:cxn ang="0">
                  <a:pos x="782" y="336"/>
                </a:cxn>
                <a:cxn ang="0">
                  <a:pos x="1034" y="236"/>
                </a:cxn>
                <a:cxn ang="0">
                  <a:pos x="1312" y="202"/>
                </a:cxn>
                <a:cxn ang="0">
                  <a:pos x="1588" y="236"/>
                </a:cxn>
                <a:cxn ang="0">
                  <a:pos x="1840" y="336"/>
                </a:cxn>
                <a:cxn ang="0">
                  <a:pos x="2058" y="490"/>
                </a:cxn>
                <a:cxn ang="0">
                  <a:pos x="2232" y="692"/>
                </a:cxn>
                <a:cxn ang="0">
                  <a:pos x="2354" y="930"/>
                </a:cxn>
                <a:cxn ang="0">
                  <a:pos x="2416" y="1198"/>
                </a:cxn>
                <a:cxn ang="0">
                  <a:pos x="2408" y="1480"/>
                </a:cxn>
                <a:cxn ang="0">
                  <a:pos x="2334" y="1744"/>
                </a:cxn>
                <a:cxn ang="0">
                  <a:pos x="2200" y="1976"/>
                </a:cxn>
                <a:cxn ang="0">
                  <a:pos x="2018" y="2168"/>
                </a:cxn>
                <a:cxn ang="0">
                  <a:pos x="1792" y="2312"/>
                </a:cxn>
                <a:cxn ang="0">
                  <a:pos x="1536" y="2398"/>
                </a:cxn>
              </a:cxnLst>
              <a:rect l="T0" t="T1" r="T2" b="T3"/>
              <a:pathLst>
                <a:path w="2622" h="2622">
                  <a:moveTo>
                    <a:pt x="2622" y="1382"/>
                  </a:moveTo>
                  <a:lnTo>
                    <a:pt x="2622" y="1240"/>
                  </a:lnTo>
                  <a:lnTo>
                    <a:pt x="2520" y="1240"/>
                  </a:lnTo>
                  <a:lnTo>
                    <a:pt x="2516" y="1196"/>
                  </a:lnTo>
                  <a:lnTo>
                    <a:pt x="2512" y="1152"/>
                  </a:lnTo>
                  <a:lnTo>
                    <a:pt x="2506" y="1110"/>
                  </a:lnTo>
                  <a:lnTo>
                    <a:pt x="2498" y="1068"/>
                  </a:lnTo>
                  <a:lnTo>
                    <a:pt x="2596" y="1040"/>
                  </a:lnTo>
                  <a:lnTo>
                    <a:pt x="2560" y="904"/>
                  </a:lnTo>
                  <a:lnTo>
                    <a:pt x="2460" y="930"/>
                  </a:lnTo>
                  <a:lnTo>
                    <a:pt x="2446" y="888"/>
                  </a:lnTo>
                  <a:lnTo>
                    <a:pt x="2430" y="848"/>
                  </a:lnTo>
                  <a:lnTo>
                    <a:pt x="2412" y="808"/>
                  </a:lnTo>
                  <a:lnTo>
                    <a:pt x="2394" y="768"/>
                  </a:lnTo>
                  <a:lnTo>
                    <a:pt x="2482" y="718"/>
                  </a:lnTo>
                  <a:lnTo>
                    <a:pt x="2412" y="594"/>
                  </a:lnTo>
                  <a:lnTo>
                    <a:pt x="2322" y="646"/>
                  </a:lnTo>
                  <a:lnTo>
                    <a:pt x="2298" y="610"/>
                  </a:lnTo>
                  <a:lnTo>
                    <a:pt x="2272" y="574"/>
                  </a:lnTo>
                  <a:lnTo>
                    <a:pt x="2244" y="540"/>
                  </a:lnTo>
                  <a:lnTo>
                    <a:pt x="2216" y="508"/>
                  </a:lnTo>
                  <a:lnTo>
                    <a:pt x="2290" y="434"/>
                  </a:lnTo>
                  <a:lnTo>
                    <a:pt x="2188" y="334"/>
                  </a:lnTo>
                  <a:lnTo>
                    <a:pt x="2116" y="406"/>
                  </a:lnTo>
                  <a:lnTo>
                    <a:pt x="2082" y="378"/>
                  </a:lnTo>
                  <a:lnTo>
                    <a:pt x="2048" y="352"/>
                  </a:lnTo>
                  <a:lnTo>
                    <a:pt x="2014" y="326"/>
                  </a:lnTo>
                  <a:lnTo>
                    <a:pt x="1978" y="300"/>
                  </a:lnTo>
                  <a:lnTo>
                    <a:pt x="2028" y="212"/>
                  </a:lnTo>
                  <a:lnTo>
                    <a:pt x="1906" y="140"/>
                  </a:lnTo>
                  <a:lnTo>
                    <a:pt x="1854" y="230"/>
                  </a:lnTo>
                  <a:lnTo>
                    <a:pt x="1816" y="210"/>
                  </a:lnTo>
                  <a:lnTo>
                    <a:pt x="1776" y="194"/>
                  </a:lnTo>
                  <a:lnTo>
                    <a:pt x="1734" y="178"/>
                  </a:lnTo>
                  <a:lnTo>
                    <a:pt x="1694" y="162"/>
                  </a:lnTo>
                  <a:lnTo>
                    <a:pt x="1720" y="64"/>
                  </a:lnTo>
                  <a:lnTo>
                    <a:pt x="1582" y="26"/>
                  </a:lnTo>
                  <a:lnTo>
                    <a:pt x="1556" y="126"/>
                  </a:lnTo>
                  <a:lnTo>
                    <a:pt x="1514" y="118"/>
                  </a:lnTo>
                  <a:lnTo>
                    <a:pt x="1470" y="112"/>
                  </a:lnTo>
                  <a:lnTo>
                    <a:pt x="1426" y="106"/>
                  </a:lnTo>
                  <a:lnTo>
                    <a:pt x="1382" y="104"/>
                  </a:lnTo>
                  <a:lnTo>
                    <a:pt x="1382" y="0"/>
                  </a:lnTo>
                  <a:lnTo>
                    <a:pt x="1240" y="0"/>
                  </a:lnTo>
                  <a:lnTo>
                    <a:pt x="1240" y="104"/>
                  </a:lnTo>
                  <a:lnTo>
                    <a:pt x="1196" y="106"/>
                  </a:lnTo>
                  <a:lnTo>
                    <a:pt x="1154" y="112"/>
                  </a:lnTo>
                  <a:lnTo>
                    <a:pt x="1110" y="118"/>
                  </a:lnTo>
                  <a:lnTo>
                    <a:pt x="1068" y="126"/>
                  </a:lnTo>
                  <a:lnTo>
                    <a:pt x="1042" y="26"/>
                  </a:lnTo>
                  <a:lnTo>
                    <a:pt x="904" y="64"/>
                  </a:lnTo>
                  <a:lnTo>
                    <a:pt x="930" y="162"/>
                  </a:lnTo>
                  <a:lnTo>
                    <a:pt x="890" y="178"/>
                  </a:lnTo>
                  <a:lnTo>
                    <a:pt x="848" y="194"/>
                  </a:lnTo>
                  <a:lnTo>
                    <a:pt x="808" y="210"/>
                  </a:lnTo>
                  <a:lnTo>
                    <a:pt x="770" y="230"/>
                  </a:lnTo>
                  <a:lnTo>
                    <a:pt x="718" y="140"/>
                  </a:lnTo>
                  <a:lnTo>
                    <a:pt x="594" y="212"/>
                  </a:lnTo>
                  <a:lnTo>
                    <a:pt x="646" y="300"/>
                  </a:lnTo>
                  <a:lnTo>
                    <a:pt x="610" y="326"/>
                  </a:lnTo>
                  <a:lnTo>
                    <a:pt x="576" y="352"/>
                  </a:lnTo>
                  <a:lnTo>
                    <a:pt x="542" y="378"/>
                  </a:lnTo>
                  <a:lnTo>
                    <a:pt x="508" y="406"/>
                  </a:lnTo>
                  <a:lnTo>
                    <a:pt x="436" y="334"/>
                  </a:lnTo>
                  <a:lnTo>
                    <a:pt x="334" y="434"/>
                  </a:lnTo>
                  <a:lnTo>
                    <a:pt x="408" y="508"/>
                  </a:lnTo>
                  <a:lnTo>
                    <a:pt x="378" y="540"/>
                  </a:lnTo>
                  <a:lnTo>
                    <a:pt x="352" y="574"/>
                  </a:lnTo>
                  <a:lnTo>
                    <a:pt x="326" y="610"/>
                  </a:lnTo>
                  <a:lnTo>
                    <a:pt x="302" y="646"/>
                  </a:lnTo>
                  <a:lnTo>
                    <a:pt x="212" y="594"/>
                  </a:lnTo>
                  <a:lnTo>
                    <a:pt x="140" y="718"/>
                  </a:lnTo>
                  <a:lnTo>
                    <a:pt x="230" y="768"/>
                  </a:lnTo>
                  <a:lnTo>
                    <a:pt x="212" y="808"/>
                  </a:lnTo>
                  <a:lnTo>
                    <a:pt x="194" y="848"/>
                  </a:lnTo>
                  <a:lnTo>
                    <a:pt x="178" y="888"/>
                  </a:lnTo>
                  <a:lnTo>
                    <a:pt x="164" y="930"/>
                  </a:lnTo>
                  <a:lnTo>
                    <a:pt x="64" y="904"/>
                  </a:lnTo>
                  <a:lnTo>
                    <a:pt x="26" y="1040"/>
                  </a:lnTo>
                  <a:lnTo>
                    <a:pt x="126" y="1068"/>
                  </a:lnTo>
                  <a:lnTo>
                    <a:pt x="118" y="1110"/>
                  </a:lnTo>
                  <a:lnTo>
                    <a:pt x="112" y="1152"/>
                  </a:lnTo>
                  <a:lnTo>
                    <a:pt x="108" y="1196"/>
                  </a:lnTo>
                  <a:lnTo>
                    <a:pt x="104" y="1240"/>
                  </a:lnTo>
                  <a:lnTo>
                    <a:pt x="0" y="1240"/>
                  </a:lnTo>
                  <a:lnTo>
                    <a:pt x="0" y="1382"/>
                  </a:lnTo>
                  <a:lnTo>
                    <a:pt x="104" y="1382"/>
                  </a:lnTo>
                  <a:lnTo>
                    <a:pt x="108" y="1426"/>
                  </a:lnTo>
                  <a:lnTo>
                    <a:pt x="112" y="1470"/>
                  </a:lnTo>
                  <a:lnTo>
                    <a:pt x="118" y="1512"/>
                  </a:lnTo>
                  <a:lnTo>
                    <a:pt x="126" y="1556"/>
                  </a:lnTo>
                  <a:lnTo>
                    <a:pt x="26" y="1582"/>
                  </a:lnTo>
                  <a:lnTo>
                    <a:pt x="64" y="1720"/>
                  </a:lnTo>
                  <a:lnTo>
                    <a:pt x="164" y="1692"/>
                  </a:lnTo>
                  <a:lnTo>
                    <a:pt x="178" y="1734"/>
                  </a:lnTo>
                  <a:lnTo>
                    <a:pt x="194" y="1774"/>
                  </a:lnTo>
                  <a:lnTo>
                    <a:pt x="212" y="1814"/>
                  </a:lnTo>
                  <a:lnTo>
                    <a:pt x="230" y="1854"/>
                  </a:lnTo>
                  <a:lnTo>
                    <a:pt x="140" y="1906"/>
                  </a:lnTo>
                  <a:lnTo>
                    <a:pt x="212" y="2028"/>
                  </a:lnTo>
                  <a:lnTo>
                    <a:pt x="302" y="1978"/>
                  </a:lnTo>
                  <a:lnTo>
                    <a:pt x="326" y="2014"/>
                  </a:lnTo>
                  <a:lnTo>
                    <a:pt x="352" y="2048"/>
                  </a:lnTo>
                  <a:lnTo>
                    <a:pt x="378" y="2082"/>
                  </a:lnTo>
                  <a:lnTo>
                    <a:pt x="408" y="2116"/>
                  </a:lnTo>
                  <a:lnTo>
                    <a:pt x="334" y="2188"/>
                  </a:lnTo>
                  <a:lnTo>
                    <a:pt x="436" y="2288"/>
                  </a:lnTo>
                  <a:lnTo>
                    <a:pt x="508" y="2216"/>
                  </a:lnTo>
                  <a:lnTo>
                    <a:pt x="542" y="2244"/>
                  </a:lnTo>
                  <a:lnTo>
                    <a:pt x="576" y="2272"/>
                  </a:lnTo>
                  <a:lnTo>
                    <a:pt x="610" y="2298"/>
                  </a:lnTo>
                  <a:lnTo>
                    <a:pt x="646" y="2322"/>
                  </a:lnTo>
                  <a:lnTo>
                    <a:pt x="594" y="2412"/>
                  </a:lnTo>
                  <a:lnTo>
                    <a:pt x="718" y="2482"/>
                  </a:lnTo>
                  <a:lnTo>
                    <a:pt x="770" y="2394"/>
                  </a:lnTo>
                  <a:lnTo>
                    <a:pt x="808" y="2412"/>
                  </a:lnTo>
                  <a:lnTo>
                    <a:pt x="848" y="2430"/>
                  </a:lnTo>
                  <a:lnTo>
                    <a:pt x="890" y="2446"/>
                  </a:lnTo>
                  <a:lnTo>
                    <a:pt x="930" y="2460"/>
                  </a:lnTo>
                  <a:lnTo>
                    <a:pt x="904" y="2560"/>
                  </a:lnTo>
                  <a:lnTo>
                    <a:pt x="1042" y="2596"/>
                  </a:lnTo>
                  <a:lnTo>
                    <a:pt x="1068" y="2498"/>
                  </a:lnTo>
                  <a:lnTo>
                    <a:pt x="1110" y="2504"/>
                  </a:lnTo>
                  <a:lnTo>
                    <a:pt x="1154" y="2512"/>
                  </a:lnTo>
                  <a:lnTo>
                    <a:pt x="1196" y="2516"/>
                  </a:lnTo>
                  <a:lnTo>
                    <a:pt x="1240" y="2520"/>
                  </a:lnTo>
                  <a:lnTo>
                    <a:pt x="1240" y="2622"/>
                  </a:lnTo>
                  <a:lnTo>
                    <a:pt x="1382" y="2622"/>
                  </a:lnTo>
                  <a:lnTo>
                    <a:pt x="1382" y="2520"/>
                  </a:lnTo>
                  <a:lnTo>
                    <a:pt x="1426" y="2516"/>
                  </a:lnTo>
                  <a:lnTo>
                    <a:pt x="1470" y="2512"/>
                  </a:lnTo>
                  <a:lnTo>
                    <a:pt x="1514" y="2504"/>
                  </a:lnTo>
                  <a:lnTo>
                    <a:pt x="1556" y="2498"/>
                  </a:lnTo>
                  <a:lnTo>
                    <a:pt x="1582" y="2596"/>
                  </a:lnTo>
                  <a:lnTo>
                    <a:pt x="1720" y="2560"/>
                  </a:lnTo>
                  <a:lnTo>
                    <a:pt x="1694" y="2460"/>
                  </a:lnTo>
                  <a:lnTo>
                    <a:pt x="1734" y="2446"/>
                  </a:lnTo>
                  <a:lnTo>
                    <a:pt x="1776" y="2430"/>
                  </a:lnTo>
                  <a:lnTo>
                    <a:pt x="1816" y="2412"/>
                  </a:lnTo>
                  <a:lnTo>
                    <a:pt x="1854" y="2394"/>
                  </a:lnTo>
                  <a:lnTo>
                    <a:pt x="1906" y="2482"/>
                  </a:lnTo>
                  <a:lnTo>
                    <a:pt x="2028" y="2412"/>
                  </a:lnTo>
                  <a:lnTo>
                    <a:pt x="1978" y="2322"/>
                  </a:lnTo>
                  <a:lnTo>
                    <a:pt x="2014" y="2298"/>
                  </a:lnTo>
                  <a:lnTo>
                    <a:pt x="2048" y="2272"/>
                  </a:lnTo>
                  <a:lnTo>
                    <a:pt x="2082" y="2244"/>
                  </a:lnTo>
                  <a:lnTo>
                    <a:pt x="2116" y="2216"/>
                  </a:lnTo>
                  <a:lnTo>
                    <a:pt x="2188" y="2288"/>
                  </a:lnTo>
                  <a:lnTo>
                    <a:pt x="2290" y="2188"/>
                  </a:lnTo>
                  <a:lnTo>
                    <a:pt x="2216" y="2116"/>
                  </a:lnTo>
                  <a:lnTo>
                    <a:pt x="2244" y="2082"/>
                  </a:lnTo>
                  <a:lnTo>
                    <a:pt x="2272" y="2048"/>
                  </a:lnTo>
                  <a:lnTo>
                    <a:pt x="2298" y="2014"/>
                  </a:lnTo>
                  <a:lnTo>
                    <a:pt x="2322" y="1978"/>
                  </a:lnTo>
                  <a:lnTo>
                    <a:pt x="2412" y="2028"/>
                  </a:lnTo>
                  <a:lnTo>
                    <a:pt x="2482" y="1906"/>
                  </a:lnTo>
                  <a:lnTo>
                    <a:pt x="2394" y="1854"/>
                  </a:lnTo>
                  <a:lnTo>
                    <a:pt x="2412" y="1814"/>
                  </a:lnTo>
                  <a:lnTo>
                    <a:pt x="2430" y="1774"/>
                  </a:lnTo>
                  <a:lnTo>
                    <a:pt x="2446" y="1734"/>
                  </a:lnTo>
                  <a:lnTo>
                    <a:pt x="2460" y="1692"/>
                  </a:lnTo>
                  <a:lnTo>
                    <a:pt x="2560" y="1720"/>
                  </a:lnTo>
                  <a:lnTo>
                    <a:pt x="2596" y="1582"/>
                  </a:lnTo>
                  <a:lnTo>
                    <a:pt x="2498" y="1556"/>
                  </a:lnTo>
                  <a:lnTo>
                    <a:pt x="2506" y="1512"/>
                  </a:lnTo>
                  <a:lnTo>
                    <a:pt x="2512" y="1470"/>
                  </a:lnTo>
                  <a:lnTo>
                    <a:pt x="2516" y="1426"/>
                  </a:lnTo>
                  <a:lnTo>
                    <a:pt x="2520" y="1382"/>
                  </a:lnTo>
                  <a:lnTo>
                    <a:pt x="2622" y="1382"/>
                  </a:lnTo>
                  <a:close/>
                  <a:moveTo>
                    <a:pt x="1312" y="2420"/>
                  </a:moveTo>
                  <a:lnTo>
                    <a:pt x="1312" y="2420"/>
                  </a:lnTo>
                  <a:lnTo>
                    <a:pt x="1254" y="2420"/>
                  </a:lnTo>
                  <a:lnTo>
                    <a:pt x="1198" y="2416"/>
                  </a:lnTo>
                  <a:lnTo>
                    <a:pt x="1142" y="2408"/>
                  </a:lnTo>
                  <a:lnTo>
                    <a:pt x="1088" y="2398"/>
                  </a:lnTo>
                  <a:lnTo>
                    <a:pt x="1034" y="2386"/>
                  </a:lnTo>
                  <a:lnTo>
                    <a:pt x="982" y="2370"/>
                  </a:lnTo>
                  <a:lnTo>
                    <a:pt x="930" y="2354"/>
                  </a:lnTo>
                  <a:lnTo>
                    <a:pt x="880" y="2334"/>
                  </a:lnTo>
                  <a:lnTo>
                    <a:pt x="830" y="2312"/>
                  </a:lnTo>
                  <a:lnTo>
                    <a:pt x="782" y="2286"/>
                  </a:lnTo>
                  <a:lnTo>
                    <a:pt x="736" y="2260"/>
                  </a:lnTo>
                  <a:lnTo>
                    <a:pt x="692" y="2232"/>
                  </a:lnTo>
                  <a:lnTo>
                    <a:pt x="648" y="2200"/>
                  </a:lnTo>
                  <a:lnTo>
                    <a:pt x="606" y="2168"/>
                  </a:lnTo>
                  <a:lnTo>
                    <a:pt x="566" y="2132"/>
                  </a:lnTo>
                  <a:lnTo>
                    <a:pt x="528" y="2096"/>
                  </a:lnTo>
                  <a:lnTo>
                    <a:pt x="490" y="2058"/>
                  </a:lnTo>
                  <a:lnTo>
                    <a:pt x="456" y="2018"/>
                  </a:lnTo>
                  <a:lnTo>
                    <a:pt x="422" y="1976"/>
                  </a:lnTo>
                  <a:lnTo>
                    <a:pt x="392" y="1932"/>
                  </a:lnTo>
                  <a:lnTo>
                    <a:pt x="362" y="1886"/>
                  </a:lnTo>
                  <a:lnTo>
                    <a:pt x="336" y="1840"/>
                  </a:lnTo>
                  <a:lnTo>
                    <a:pt x="312" y="1792"/>
                  </a:lnTo>
                  <a:lnTo>
                    <a:pt x="290" y="1744"/>
                  </a:lnTo>
                  <a:lnTo>
                    <a:pt x="270" y="1692"/>
                  </a:lnTo>
                  <a:lnTo>
                    <a:pt x="252" y="1642"/>
                  </a:lnTo>
                  <a:lnTo>
                    <a:pt x="238" y="1588"/>
                  </a:lnTo>
                  <a:lnTo>
                    <a:pt x="224" y="1534"/>
                  </a:lnTo>
                  <a:lnTo>
                    <a:pt x="216" y="1480"/>
                  </a:lnTo>
                  <a:lnTo>
                    <a:pt x="208" y="1424"/>
                  </a:lnTo>
                  <a:lnTo>
                    <a:pt x="204" y="1368"/>
                  </a:lnTo>
                  <a:lnTo>
                    <a:pt x="202" y="1312"/>
                  </a:lnTo>
                  <a:lnTo>
                    <a:pt x="204" y="1254"/>
                  </a:lnTo>
                  <a:lnTo>
                    <a:pt x="208" y="1198"/>
                  </a:lnTo>
                  <a:lnTo>
                    <a:pt x="216" y="1142"/>
                  </a:lnTo>
                  <a:lnTo>
                    <a:pt x="224" y="1088"/>
                  </a:lnTo>
                  <a:lnTo>
                    <a:pt x="238" y="1034"/>
                  </a:lnTo>
                  <a:lnTo>
                    <a:pt x="252" y="982"/>
                  </a:lnTo>
                  <a:lnTo>
                    <a:pt x="270" y="930"/>
                  </a:lnTo>
                  <a:lnTo>
                    <a:pt x="290" y="880"/>
                  </a:lnTo>
                  <a:lnTo>
                    <a:pt x="312" y="830"/>
                  </a:lnTo>
                  <a:lnTo>
                    <a:pt x="336" y="782"/>
                  </a:lnTo>
                  <a:lnTo>
                    <a:pt x="362" y="736"/>
                  </a:lnTo>
                  <a:lnTo>
                    <a:pt x="392" y="692"/>
                  </a:lnTo>
                  <a:lnTo>
                    <a:pt x="422" y="648"/>
                  </a:lnTo>
                  <a:lnTo>
                    <a:pt x="456" y="606"/>
                  </a:lnTo>
                  <a:lnTo>
                    <a:pt x="490" y="566"/>
                  </a:lnTo>
                  <a:lnTo>
                    <a:pt x="528" y="526"/>
                  </a:lnTo>
                  <a:lnTo>
                    <a:pt x="566" y="490"/>
                  </a:lnTo>
                  <a:lnTo>
                    <a:pt x="606" y="456"/>
                  </a:lnTo>
                  <a:lnTo>
                    <a:pt x="648" y="422"/>
                  </a:lnTo>
                  <a:lnTo>
                    <a:pt x="692" y="392"/>
                  </a:lnTo>
                  <a:lnTo>
                    <a:pt x="736" y="362"/>
                  </a:lnTo>
                  <a:lnTo>
                    <a:pt x="782" y="336"/>
                  </a:lnTo>
                  <a:lnTo>
                    <a:pt x="830" y="312"/>
                  </a:lnTo>
                  <a:lnTo>
                    <a:pt x="880" y="290"/>
                  </a:lnTo>
                  <a:lnTo>
                    <a:pt x="930" y="270"/>
                  </a:lnTo>
                  <a:lnTo>
                    <a:pt x="982" y="252"/>
                  </a:lnTo>
                  <a:lnTo>
                    <a:pt x="1034" y="236"/>
                  </a:lnTo>
                  <a:lnTo>
                    <a:pt x="1088" y="224"/>
                  </a:lnTo>
                  <a:lnTo>
                    <a:pt x="1142" y="214"/>
                  </a:lnTo>
                  <a:lnTo>
                    <a:pt x="1198" y="208"/>
                  </a:lnTo>
                  <a:lnTo>
                    <a:pt x="1254" y="204"/>
                  </a:lnTo>
                  <a:lnTo>
                    <a:pt x="1312" y="202"/>
                  </a:lnTo>
                  <a:lnTo>
                    <a:pt x="1368" y="204"/>
                  </a:lnTo>
                  <a:lnTo>
                    <a:pt x="1426" y="208"/>
                  </a:lnTo>
                  <a:lnTo>
                    <a:pt x="1480" y="214"/>
                  </a:lnTo>
                  <a:lnTo>
                    <a:pt x="1536" y="224"/>
                  </a:lnTo>
                  <a:lnTo>
                    <a:pt x="1588" y="236"/>
                  </a:lnTo>
                  <a:lnTo>
                    <a:pt x="1642" y="252"/>
                  </a:lnTo>
                  <a:lnTo>
                    <a:pt x="1694" y="270"/>
                  </a:lnTo>
                  <a:lnTo>
                    <a:pt x="1744" y="290"/>
                  </a:lnTo>
                  <a:lnTo>
                    <a:pt x="1792" y="312"/>
                  </a:lnTo>
                  <a:lnTo>
                    <a:pt x="1840" y="336"/>
                  </a:lnTo>
                  <a:lnTo>
                    <a:pt x="1886" y="362"/>
                  </a:lnTo>
                  <a:lnTo>
                    <a:pt x="1932" y="392"/>
                  </a:lnTo>
                  <a:lnTo>
                    <a:pt x="1976" y="422"/>
                  </a:lnTo>
                  <a:lnTo>
                    <a:pt x="2018" y="456"/>
                  </a:lnTo>
                  <a:lnTo>
                    <a:pt x="2058" y="490"/>
                  </a:lnTo>
                  <a:lnTo>
                    <a:pt x="2096" y="526"/>
                  </a:lnTo>
                  <a:lnTo>
                    <a:pt x="2132" y="566"/>
                  </a:lnTo>
                  <a:lnTo>
                    <a:pt x="2168" y="606"/>
                  </a:lnTo>
                  <a:lnTo>
                    <a:pt x="2200" y="648"/>
                  </a:lnTo>
                  <a:lnTo>
                    <a:pt x="2232" y="692"/>
                  </a:lnTo>
                  <a:lnTo>
                    <a:pt x="2260" y="736"/>
                  </a:lnTo>
                  <a:lnTo>
                    <a:pt x="2288" y="782"/>
                  </a:lnTo>
                  <a:lnTo>
                    <a:pt x="2312" y="830"/>
                  </a:lnTo>
                  <a:lnTo>
                    <a:pt x="2334" y="880"/>
                  </a:lnTo>
                  <a:lnTo>
                    <a:pt x="2354" y="930"/>
                  </a:lnTo>
                  <a:lnTo>
                    <a:pt x="2372" y="982"/>
                  </a:lnTo>
                  <a:lnTo>
                    <a:pt x="2386" y="1034"/>
                  </a:lnTo>
                  <a:lnTo>
                    <a:pt x="2398" y="1088"/>
                  </a:lnTo>
                  <a:lnTo>
                    <a:pt x="2408" y="1142"/>
                  </a:lnTo>
                  <a:lnTo>
                    <a:pt x="2416" y="1198"/>
                  </a:lnTo>
                  <a:lnTo>
                    <a:pt x="2420" y="1254"/>
                  </a:lnTo>
                  <a:lnTo>
                    <a:pt x="2422" y="1312"/>
                  </a:lnTo>
                  <a:lnTo>
                    <a:pt x="2420" y="1368"/>
                  </a:lnTo>
                  <a:lnTo>
                    <a:pt x="2416" y="1424"/>
                  </a:lnTo>
                  <a:lnTo>
                    <a:pt x="2408" y="1480"/>
                  </a:lnTo>
                  <a:lnTo>
                    <a:pt x="2398" y="1534"/>
                  </a:lnTo>
                  <a:lnTo>
                    <a:pt x="2386" y="1588"/>
                  </a:lnTo>
                  <a:lnTo>
                    <a:pt x="2372" y="1642"/>
                  </a:lnTo>
                  <a:lnTo>
                    <a:pt x="2354" y="1692"/>
                  </a:lnTo>
                  <a:lnTo>
                    <a:pt x="2334" y="1744"/>
                  </a:lnTo>
                  <a:lnTo>
                    <a:pt x="2312" y="1792"/>
                  </a:lnTo>
                  <a:lnTo>
                    <a:pt x="2288" y="1840"/>
                  </a:lnTo>
                  <a:lnTo>
                    <a:pt x="2260" y="1886"/>
                  </a:lnTo>
                  <a:lnTo>
                    <a:pt x="2232" y="1932"/>
                  </a:lnTo>
                  <a:lnTo>
                    <a:pt x="2200" y="1976"/>
                  </a:lnTo>
                  <a:lnTo>
                    <a:pt x="2168" y="2018"/>
                  </a:lnTo>
                  <a:lnTo>
                    <a:pt x="2132" y="2058"/>
                  </a:lnTo>
                  <a:lnTo>
                    <a:pt x="2096" y="2096"/>
                  </a:lnTo>
                  <a:lnTo>
                    <a:pt x="2058" y="2132"/>
                  </a:lnTo>
                  <a:lnTo>
                    <a:pt x="2018" y="2168"/>
                  </a:lnTo>
                  <a:lnTo>
                    <a:pt x="1976" y="2200"/>
                  </a:lnTo>
                  <a:lnTo>
                    <a:pt x="1932" y="2232"/>
                  </a:lnTo>
                  <a:lnTo>
                    <a:pt x="1886" y="2260"/>
                  </a:lnTo>
                  <a:lnTo>
                    <a:pt x="1840" y="2286"/>
                  </a:lnTo>
                  <a:lnTo>
                    <a:pt x="1792" y="2312"/>
                  </a:lnTo>
                  <a:lnTo>
                    <a:pt x="1744" y="2334"/>
                  </a:lnTo>
                  <a:lnTo>
                    <a:pt x="1694" y="2354"/>
                  </a:lnTo>
                  <a:lnTo>
                    <a:pt x="1642" y="2370"/>
                  </a:lnTo>
                  <a:lnTo>
                    <a:pt x="1588" y="2386"/>
                  </a:lnTo>
                  <a:lnTo>
                    <a:pt x="1536" y="2398"/>
                  </a:lnTo>
                  <a:lnTo>
                    <a:pt x="1480" y="2408"/>
                  </a:lnTo>
                  <a:lnTo>
                    <a:pt x="1426" y="2416"/>
                  </a:lnTo>
                  <a:lnTo>
                    <a:pt x="1368" y="2420"/>
                  </a:lnTo>
                  <a:lnTo>
                    <a:pt x="1312" y="2420"/>
                  </a:lnTo>
                  <a:close/>
                </a:path>
              </a:pathLst>
            </a:custGeom>
            <a:solidFill>
              <a:srgbClr val="808080">
                <a:alpha val="79999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70" name="Oval 676"/>
            <p:cNvSpPr>
              <a:spLocks noChangeArrowheads="1"/>
            </p:cNvSpPr>
            <p:nvPr/>
          </p:nvSpPr>
          <p:spPr bwMode="auto">
            <a:xfrm rot="21275257">
              <a:off x="1195388" y="2127250"/>
              <a:ext cx="2695575" cy="2693988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endParaRPr lang="ko-KR" altLang="en-US"/>
            </a:p>
          </p:txBody>
        </p:sp>
      </p:grpSp>
      <p:grpSp>
        <p:nvGrpSpPr>
          <p:cNvPr id="71" name="组合 70"/>
          <p:cNvGrpSpPr/>
          <p:nvPr/>
        </p:nvGrpSpPr>
        <p:grpSpPr>
          <a:xfrm>
            <a:off x="4208462" y="1606550"/>
            <a:ext cx="2628900" cy="2630487"/>
            <a:chOff x="4092575" y="1690688"/>
            <a:chExt cx="2628900" cy="2630487"/>
          </a:xfrm>
        </p:grpSpPr>
        <p:sp>
          <p:nvSpPr>
            <p:cNvPr id="72" name="Freeform 673"/>
            <p:cNvSpPr>
              <a:spLocks noEditPoints="1"/>
            </p:cNvSpPr>
            <p:nvPr/>
          </p:nvSpPr>
          <p:spPr bwMode="auto">
            <a:xfrm rot="21275257">
              <a:off x="4092575" y="1690688"/>
              <a:ext cx="2628900" cy="2630487"/>
            </a:xfrm>
            <a:custGeom>
              <a:avLst/>
              <a:gdLst>
                <a:gd name="T0" fmla="*/ 0 w 1816"/>
                <a:gd name="T1" fmla="*/ 0 h 1816"/>
                <a:gd name="T2" fmla="*/ 1816 w 1816"/>
                <a:gd name="T3" fmla="*/ 1816 h 1816"/>
              </a:gdLst>
              <a:ahLst/>
              <a:cxnLst>
                <a:cxn ang="0">
                  <a:pos x="1706" y="792"/>
                </a:cxn>
                <a:cxn ang="0">
                  <a:pos x="1774" y="626"/>
                </a:cxn>
                <a:cxn ang="0">
                  <a:pos x="1578" y="460"/>
                </a:cxn>
                <a:cxn ang="0">
                  <a:pos x="1498" y="216"/>
                </a:cxn>
                <a:cxn ang="0">
                  <a:pos x="1318" y="214"/>
                </a:cxn>
                <a:cxn ang="0">
                  <a:pos x="1150" y="138"/>
                </a:cxn>
                <a:cxn ang="0">
                  <a:pos x="978" y="104"/>
                </a:cxn>
                <a:cxn ang="0">
                  <a:pos x="792" y="110"/>
                </a:cxn>
                <a:cxn ang="0">
                  <a:pos x="626" y="42"/>
                </a:cxn>
                <a:cxn ang="0">
                  <a:pos x="460" y="236"/>
                </a:cxn>
                <a:cxn ang="0">
                  <a:pos x="216" y="316"/>
                </a:cxn>
                <a:cxn ang="0">
                  <a:pos x="214" y="496"/>
                </a:cxn>
                <a:cxn ang="0">
                  <a:pos x="138" y="666"/>
                </a:cxn>
                <a:cxn ang="0">
                  <a:pos x="104" y="836"/>
                </a:cxn>
                <a:cxn ang="0">
                  <a:pos x="108" y="1022"/>
                </a:cxn>
                <a:cxn ang="0">
                  <a:pos x="42" y="1190"/>
                </a:cxn>
                <a:cxn ang="0">
                  <a:pos x="236" y="1356"/>
                </a:cxn>
                <a:cxn ang="0">
                  <a:pos x="316" y="1600"/>
                </a:cxn>
                <a:cxn ang="0">
                  <a:pos x="496" y="1602"/>
                </a:cxn>
                <a:cxn ang="0">
                  <a:pos x="666" y="1678"/>
                </a:cxn>
                <a:cxn ang="0">
                  <a:pos x="836" y="1712"/>
                </a:cxn>
                <a:cxn ang="0">
                  <a:pos x="1022" y="1706"/>
                </a:cxn>
                <a:cxn ang="0">
                  <a:pos x="1188" y="1774"/>
                </a:cxn>
                <a:cxn ang="0">
                  <a:pos x="1356" y="1578"/>
                </a:cxn>
                <a:cxn ang="0">
                  <a:pos x="1600" y="1500"/>
                </a:cxn>
                <a:cxn ang="0">
                  <a:pos x="1602" y="1320"/>
                </a:cxn>
                <a:cxn ang="0">
                  <a:pos x="1678" y="1150"/>
                </a:cxn>
                <a:cxn ang="0">
                  <a:pos x="1710" y="978"/>
                </a:cxn>
                <a:cxn ang="0">
                  <a:pos x="872" y="1612"/>
                </a:cxn>
                <a:cxn ang="0">
                  <a:pos x="730" y="1592"/>
                </a:cxn>
                <a:cxn ang="0">
                  <a:pos x="602" y="1544"/>
                </a:cxn>
                <a:cxn ang="0">
                  <a:pos x="484" y="1474"/>
                </a:cxn>
                <a:cxn ang="0">
                  <a:pos x="384" y="1382"/>
                </a:cxn>
                <a:cxn ang="0">
                  <a:pos x="304" y="1274"/>
                </a:cxn>
                <a:cxn ang="0">
                  <a:pos x="244" y="1150"/>
                </a:cxn>
                <a:cxn ang="0">
                  <a:pos x="210" y="1016"/>
                </a:cxn>
                <a:cxn ang="0">
                  <a:pos x="202" y="872"/>
                </a:cxn>
                <a:cxn ang="0">
                  <a:pos x="224" y="732"/>
                </a:cxn>
                <a:cxn ang="0">
                  <a:pos x="272" y="602"/>
                </a:cxn>
                <a:cxn ang="0">
                  <a:pos x="342" y="486"/>
                </a:cxn>
                <a:cxn ang="0">
                  <a:pos x="432" y="386"/>
                </a:cxn>
                <a:cxn ang="0">
                  <a:pos x="542" y="304"/>
                </a:cxn>
                <a:cxn ang="0">
                  <a:pos x="664" y="244"/>
                </a:cxn>
                <a:cxn ang="0">
                  <a:pos x="800" y="210"/>
                </a:cxn>
                <a:cxn ang="0">
                  <a:pos x="944" y="202"/>
                </a:cxn>
                <a:cxn ang="0">
                  <a:pos x="1084" y="224"/>
                </a:cxn>
                <a:cxn ang="0">
                  <a:pos x="1214" y="272"/>
                </a:cxn>
                <a:cxn ang="0">
                  <a:pos x="1330" y="342"/>
                </a:cxn>
                <a:cxn ang="0">
                  <a:pos x="1430" y="432"/>
                </a:cxn>
                <a:cxn ang="0">
                  <a:pos x="1512" y="542"/>
                </a:cxn>
                <a:cxn ang="0">
                  <a:pos x="1570" y="664"/>
                </a:cxn>
                <a:cxn ang="0">
                  <a:pos x="1606" y="800"/>
                </a:cxn>
                <a:cxn ang="0">
                  <a:pos x="1612" y="944"/>
                </a:cxn>
                <a:cxn ang="0">
                  <a:pos x="1592" y="1084"/>
                </a:cxn>
                <a:cxn ang="0">
                  <a:pos x="1544" y="1214"/>
                </a:cxn>
                <a:cxn ang="0">
                  <a:pos x="1474" y="1330"/>
                </a:cxn>
                <a:cxn ang="0">
                  <a:pos x="1382" y="1430"/>
                </a:cxn>
                <a:cxn ang="0">
                  <a:pos x="1274" y="1512"/>
                </a:cxn>
                <a:cxn ang="0">
                  <a:pos x="1150" y="1570"/>
                </a:cxn>
                <a:cxn ang="0">
                  <a:pos x="1014" y="1606"/>
                </a:cxn>
              </a:cxnLst>
              <a:rect l="T0" t="T1" r="T2" b="T3"/>
              <a:pathLst>
                <a:path w="1816" h="1816">
                  <a:moveTo>
                    <a:pt x="1816" y="978"/>
                  </a:moveTo>
                  <a:lnTo>
                    <a:pt x="1816" y="836"/>
                  </a:lnTo>
                  <a:lnTo>
                    <a:pt x="1710" y="836"/>
                  </a:lnTo>
                  <a:lnTo>
                    <a:pt x="1706" y="792"/>
                  </a:lnTo>
                  <a:lnTo>
                    <a:pt x="1698" y="750"/>
                  </a:lnTo>
                  <a:lnTo>
                    <a:pt x="1688" y="708"/>
                  </a:lnTo>
                  <a:lnTo>
                    <a:pt x="1678" y="666"/>
                  </a:lnTo>
                  <a:lnTo>
                    <a:pt x="1774" y="626"/>
                  </a:lnTo>
                  <a:lnTo>
                    <a:pt x="1718" y="494"/>
                  </a:lnTo>
                  <a:lnTo>
                    <a:pt x="1622" y="534"/>
                  </a:lnTo>
                  <a:lnTo>
                    <a:pt x="1602" y="496"/>
                  </a:lnTo>
                  <a:lnTo>
                    <a:pt x="1578" y="460"/>
                  </a:lnTo>
                  <a:lnTo>
                    <a:pt x="1552" y="424"/>
                  </a:lnTo>
                  <a:lnTo>
                    <a:pt x="1526" y="390"/>
                  </a:lnTo>
                  <a:lnTo>
                    <a:pt x="1600" y="316"/>
                  </a:lnTo>
                  <a:lnTo>
                    <a:pt x="1498" y="216"/>
                  </a:lnTo>
                  <a:lnTo>
                    <a:pt x="1426" y="290"/>
                  </a:lnTo>
                  <a:lnTo>
                    <a:pt x="1392" y="262"/>
                  </a:lnTo>
                  <a:lnTo>
                    <a:pt x="1356" y="236"/>
                  </a:lnTo>
                  <a:lnTo>
                    <a:pt x="1318" y="214"/>
                  </a:lnTo>
                  <a:lnTo>
                    <a:pt x="1280" y="192"/>
                  </a:lnTo>
                  <a:lnTo>
                    <a:pt x="1320" y="96"/>
                  </a:lnTo>
                  <a:lnTo>
                    <a:pt x="1188" y="42"/>
                  </a:lnTo>
                  <a:lnTo>
                    <a:pt x="1150" y="138"/>
                  </a:lnTo>
                  <a:lnTo>
                    <a:pt x="1108" y="126"/>
                  </a:lnTo>
                  <a:lnTo>
                    <a:pt x="1066" y="116"/>
                  </a:lnTo>
                  <a:lnTo>
                    <a:pt x="1022" y="110"/>
                  </a:lnTo>
                  <a:lnTo>
                    <a:pt x="978" y="104"/>
                  </a:lnTo>
                  <a:lnTo>
                    <a:pt x="978" y="0"/>
                  </a:lnTo>
                  <a:lnTo>
                    <a:pt x="836" y="0"/>
                  </a:lnTo>
                  <a:lnTo>
                    <a:pt x="836" y="104"/>
                  </a:lnTo>
                  <a:lnTo>
                    <a:pt x="792" y="110"/>
                  </a:lnTo>
                  <a:lnTo>
                    <a:pt x="750" y="116"/>
                  </a:lnTo>
                  <a:lnTo>
                    <a:pt x="706" y="126"/>
                  </a:lnTo>
                  <a:lnTo>
                    <a:pt x="666" y="138"/>
                  </a:lnTo>
                  <a:lnTo>
                    <a:pt x="626" y="42"/>
                  </a:lnTo>
                  <a:lnTo>
                    <a:pt x="494" y="96"/>
                  </a:lnTo>
                  <a:lnTo>
                    <a:pt x="534" y="192"/>
                  </a:lnTo>
                  <a:lnTo>
                    <a:pt x="496" y="214"/>
                  </a:lnTo>
                  <a:lnTo>
                    <a:pt x="460" y="236"/>
                  </a:lnTo>
                  <a:lnTo>
                    <a:pt x="424" y="262"/>
                  </a:lnTo>
                  <a:lnTo>
                    <a:pt x="390" y="290"/>
                  </a:lnTo>
                  <a:lnTo>
                    <a:pt x="316" y="216"/>
                  </a:lnTo>
                  <a:lnTo>
                    <a:pt x="216" y="316"/>
                  </a:lnTo>
                  <a:lnTo>
                    <a:pt x="288" y="390"/>
                  </a:lnTo>
                  <a:lnTo>
                    <a:pt x="262" y="424"/>
                  </a:lnTo>
                  <a:lnTo>
                    <a:pt x="236" y="460"/>
                  </a:lnTo>
                  <a:lnTo>
                    <a:pt x="214" y="496"/>
                  </a:lnTo>
                  <a:lnTo>
                    <a:pt x="192" y="534"/>
                  </a:lnTo>
                  <a:lnTo>
                    <a:pt x="96" y="494"/>
                  </a:lnTo>
                  <a:lnTo>
                    <a:pt x="42" y="626"/>
                  </a:lnTo>
                  <a:lnTo>
                    <a:pt x="138" y="666"/>
                  </a:lnTo>
                  <a:lnTo>
                    <a:pt x="126" y="708"/>
                  </a:lnTo>
                  <a:lnTo>
                    <a:pt x="116" y="750"/>
                  </a:lnTo>
                  <a:lnTo>
                    <a:pt x="108" y="792"/>
                  </a:lnTo>
                  <a:lnTo>
                    <a:pt x="104" y="836"/>
                  </a:lnTo>
                  <a:lnTo>
                    <a:pt x="0" y="836"/>
                  </a:lnTo>
                  <a:lnTo>
                    <a:pt x="0" y="978"/>
                  </a:lnTo>
                  <a:lnTo>
                    <a:pt x="104" y="978"/>
                  </a:lnTo>
                  <a:lnTo>
                    <a:pt x="108" y="1022"/>
                  </a:lnTo>
                  <a:lnTo>
                    <a:pt x="116" y="1066"/>
                  </a:lnTo>
                  <a:lnTo>
                    <a:pt x="126" y="1108"/>
                  </a:lnTo>
                  <a:lnTo>
                    <a:pt x="138" y="1150"/>
                  </a:lnTo>
                  <a:lnTo>
                    <a:pt x="42" y="1190"/>
                  </a:lnTo>
                  <a:lnTo>
                    <a:pt x="96" y="1320"/>
                  </a:lnTo>
                  <a:lnTo>
                    <a:pt x="192" y="1280"/>
                  </a:lnTo>
                  <a:lnTo>
                    <a:pt x="214" y="1320"/>
                  </a:lnTo>
                  <a:lnTo>
                    <a:pt x="236" y="1356"/>
                  </a:lnTo>
                  <a:lnTo>
                    <a:pt x="262" y="1392"/>
                  </a:lnTo>
                  <a:lnTo>
                    <a:pt x="288" y="1426"/>
                  </a:lnTo>
                  <a:lnTo>
                    <a:pt x="216" y="1500"/>
                  </a:lnTo>
                  <a:lnTo>
                    <a:pt x="316" y="1600"/>
                  </a:lnTo>
                  <a:lnTo>
                    <a:pt x="390" y="1526"/>
                  </a:lnTo>
                  <a:lnTo>
                    <a:pt x="424" y="1554"/>
                  </a:lnTo>
                  <a:lnTo>
                    <a:pt x="460" y="1578"/>
                  </a:lnTo>
                  <a:lnTo>
                    <a:pt x="496" y="1602"/>
                  </a:lnTo>
                  <a:lnTo>
                    <a:pt x="534" y="1622"/>
                  </a:lnTo>
                  <a:lnTo>
                    <a:pt x="494" y="1718"/>
                  </a:lnTo>
                  <a:lnTo>
                    <a:pt x="626" y="1774"/>
                  </a:lnTo>
                  <a:lnTo>
                    <a:pt x="666" y="1678"/>
                  </a:lnTo>
                  <a:lnTo>
                    <a:pt x="706" y="1690"/>
                  </a:lnTo>
                  <a:lnTo>
                    <a:pt x="750" y="1698"/>
                  </a:lnTo>
                  <a:lnTo>
                    <a:pt x="792" y="1706"/>
                  </a:lnTo>
                  <a:lnTo>
                    <a:pt x="836" y="1712"/>
                  </a:lnTo>
                  <a:lnTo>
                    <a:pt x="836" y="1816"/>
                  </a:lnTo>
                  <a:lnTo>
                    <a:pt x="978" y="1816"/>
                  </a:lnTo>
                  <a:lnTo>
                    <a:pt x="978" y="1712"/>
                  </a:lnTo>
                  <a:lnTo>
                    <a:pt x="1022" y="1706"/>
                  </a:lnTo>
                  <a:lnTo>
                    <a:pt x="1066" y="1698"/>
                  </a:lnTo>
                  <a:lnTo>
                    <a:pt x="1108" y="1690"/>
                  </a:lnTo>
                  <a:lnTo>
                    <a:pt x="1150" y="1678"/>
                  </a:lnTo>
                  <a:lnTo>
                    <a:pt x="1188" y="1774"/>
                  </a:lnTo>
                  <a:lnTo>
                    <a:pt x="1320" y="1718"/>
                  </a:lnTo>
                  <a:lnTo>
                    <a:pt x="1280" y="1622"/>
                  </a:lnTo>
                  <a:lnTo>
                    <a:pt x="1318" y="1602"/>
                  </a:lnTo>
                  <a:lnTo>
                    <a:pt x="1356" y="1578"/>
                  </a:lnTo>
                  <a:lnTo>
                    <a:pt x="1392" y="1554"/>
                  </a:lnTo>
                  <a:lnTo>
                    <a:pt x="1426" y="1526"/>
                  </a:lnTo>
                  <a:lnTo>
                    <a:pt x="1498" y="1600"/>
                  </a:lnTo>
                  <a:lnTo>
                    <a:pt x="1600" y="1500"/>
                  </a:lnTo>
                  <a:lnTo>
                    <a:pt x="1526" y="1426"/>
                  </a:lnTo>
                  <a:lnTo>
                    <a:pt x="1552" y="1392"/>
                  </a:lnTo>
                  <a:lnTo>
                    <a:pt x="1578" y="1356"/>
                  </a:lnTo>
                  <a:lnTo>
                    <a:pt x="1602" y="1320"/>
                  </a:lnTo>
                  <a:lnTo>
                    <a:pt x="1622" y="1280"/>
                  </a:lnTo>
                  <a:lnTo>
                    <a:pt x="1718" y="1320"/>
                  </a:lnTo>
                  <a:lnTo>
                    <a:pt x="1774" y="1190"/>
                  </a:lnTo>
                  <a:lnTo>
                    <a:pt x="1678" y="1150"/>
                  </a:lnTo>
                  <a:lnTo>
                    <a:pt x="1688" y="1108"/>
                  </a:lnTo>
                  <a:lnTo>
                    <a:pt x="1698" y="1066"/>
                  </a:lnTo>
                  <a:lnTo>
                    <a:pt x="1706" y="1022"/>
                  </a:lnTo>
                  <a:lnTo>
                    <a:pt x="1710" y="978"/>
                  </a:lnTo>
                  <a:lnTo>
                    <a:pt x="1816" y="978"/>
                  </a:lnTo>
                  <a:close/>
                  <a:moveTo>
                    <a:pt x="908" y="1614"/>
                  </a:moveTo>
                  <a:lnTo>
                    <a:pt x="908" y="1614"/>
                  </a:lnTo>
                  <a:lnTo>
                    <a:pt x="872" y="1612"/>
                  </a:lnTo>
                  <a:lnTo>
                    <a:pt x="836" y="1610"/>
                  </a:lnTo>
                  <a:lnTo>
                    <a:pt x="800" y="1606"/>
                  </a:lnTo>
                  <a:lnTo>
                    <a:pt x="766" y="1600"/>
                  </a:lnTo>
                  <a:lnTo>
                    <a:pt x="730" y="1592"/>
                  </a:lnTo>
                  <a:lnTo>
                    <a:pt x="698" y="1582"/>
                  </a:lnTo>
                  <a:lnTo>
                    <a:pt x="664" y="1570"/>
                  </a:lnTo>
                  <a:lnTo>
                    <a:pt x="632" y="1558"/>
                  </a:lnTo>
                  <a:lnTo>
                    <a:pt x="602" y="1544"/>
                  </a:lnTo>
                  <a:lnTo>
                    <a:pt x="570" y="1528"/>
                  </a:lnTo>
                  <a:lnTo>
                    <a:pt x="542" y="1512"/>
                  </a:lnTo>
                  <a:lnTo>
                    <a:pt x="512" y="1492"/>
                  </a:lnTo>
                  <a:lnTo>
                    <a:pt x="484" y="1474"/>
                  </a:lnTo>
                  <a:lnTo>
                    <a:pt x="458" y="1452"/>
                  </a:lnTo>
                  <a:lnTo>
                    <a:pt x="432" y="1430"/>
                  </a:lnTo>
                  <a:lnTo>
                    <a:pt x="408" y="1406"/>
                  </a:lnTo>
                  <a:lnTo>
                    <a:pt x="384" y="1382"/>
                  </a:lnTo>
                  <a:lnTo>
                    <a:pt x="362" y="1356"/>
                  </a:lnTo>
                  <a:lnTo>
                    <a:pt x="342" y="1330"/>
                  </a:lnTo>
                  <a:lnTo>
                    <a:pt x="322" y="1302"/>
                  </a:lnTo>
                  <a:lnTo>
                    <a:pt x="304" y="1274"/>
                  </a:lnTo>
                  <a:lnTo>
                    <a:pt x="286" y="1244"/>
                  </a:lnTo>
                  <a:lnTo>
                    <a:pt x="272" y="1214"/>
                  </a:lnTo>
                  <a:lnTo>
                    <a:pt x="256" y="1182"/>
                  </a:lnTo>
                  <a:lnTo>
                    <a:pt x="244" y="1150"/>
                  </a:lnTo>
                  <a:lnTo>
                    <a:pt x="234" y="1118"/>
                  </a:lnTo>
                  <a:lnTo>
                    <a:pt x="224" y="1084"/>
                  </a:lnTo>
                  <a:lnTo>
                    <a:pt x="216" y="1050"/>
                  </a:lnTo>
                  <a:lnTo>
                    <a:pt x="210" y="1016"/>
                  </a:lnTo>
                  <a:lnTo>
                    <a:pt x="206" y="980"/>
                  </a:lnTo>
                  <a:lnTo>
                    <a:pt x="202" y="944"/>
                  </a:lnTo>
                  <a:lnTo>
                    <a:pt x="202" y="908"/>
                  </a:lnTo>
                  <a:lnTo>
                    <a:pt x="202" y="872"/>
                  </a:lnTo>
                  <a:lnTo>
                    <a:pt x="206" y="836"/>
                  </a:lnTo>
                  <a:lnTo>
                    <a:pt x="210" y="800"/>
                  </a:lnTo>
                  <a:lnTo>
                    <a:pt x="216" y="766"/>
                  </a:lnTo>
                  <a:lnTo>
                    <a:pt x="224" y="732"/>
                  </a:lnTo>
                  <a:lnTo>
                    <a:pt x="234" y="698"/>
                  </a:lnTo>
                  <a:lnTo>
                    <a:pt x="244" y="664"/>
                  </a:lnTo>
                  <a:lnTo>
                    <a:pt x="256" y="632"/>
                  </a:lnTo>
                  <a:lnTo>
                    <a:pt x="272" y="602"/>
                  </a:lnTo>
                  <a:lnTo>
                    <a:pt x="286" y="572"/>
                  </a:lnTo>
                  <a:lnTo>
                    <a:pt x="304" y="542"/>
                  </a:lnTo>
                  <a:lnTo>
                    <a:pt x="322" y="512"/>
                  </a:lnTo>
                  <a:lnTo>
                    <a:pt x="342" y="486"/>
                  </a:lnTo>
                  <a:lnTo>
                    <a:pt x="362" y="458"/>
                  </a:lnTo>
                  <a:lnTo>
                    <a:pt x="384" y="432"/>
                  </a:lnTo>
                  <a:lnTo>
                    <a:pt x="408" y="408"/>
                  </a:lnTo>
                  <a:lnTo>
                    <a:pt x="432" y="386"/>
                  </a:lnTo>
                  <a:lnTo>
                    <a:pt x="458" y="362"/>
                  </a:lnTo>
                  <a:lnTo>
                    <a:pt x="484" y="342"/>
                  </a:lnTo>
                  <a:lnTo>
                    <a:pt x="512" y="322"/>
                  </a:lnTo>
                  <a:lnTo>
                    <a:pt x="542" y="304"/>
                  </a:lnTo>
                  <a:lnTo>
                    <a:pt x="570" y="286"/>
                  </a:lnTo>
                  <a:lnTo>
                    <a:pt x="602" y="272"/>
                  </a:lnTo>
                  <a:lnTo>
                    <a:pt x="632" y="258"/>
                  </a:lnTo>
                  <a:lnTo>
                    <a:pt x="664" y="244"/>
                  </a:lnTo>
                  <a:lnTo>
                    <a:pt x="698" y="234"/>
                  </a:lnTo>
                  <a:lnTo>
                    <a:pt x="730" y="224"/>
                  </a:lnTo>
                  <a:lnTo>
                    <a:pt x="766" y="216"/>
                  </a:lnTo>
                  <a:lnTo>
                    <a:pt x="800" y="210"/>
                  </a:lnTo>
                  <a:lnTo>
                    <a:pt x="836" y="206"/>
                  </a:lnTo>
                  <a:lnTo>
                    <a:pt x="872" y="202"/>
                  </a:lnTo>
                  <a:lnTo>
                    <a:pt x="908" y="202"/>
                  </a:lnTo>
                  <a:lnTo>
                    <a:pt x="944" y="202"/>
                  </a:lnTo>
                  <a:lnTo>
                    <a:pt x="980" y="206"/>
                  </a:lnTo>
                  <a:lnTo>
                    <a:pt x="1014" y="210"/>
                  </a:lnTo>
                  <a:lnTo>
                    <a:pt x="1050" y="216"/>
                  </a:lnTo>
                  <a:lnTo>
                    <a:pt x="1084" y="224"/>
                  </a:lnTo>
                  <a:lnTo>
                    <a:pt x="1118" y="234"/>
                  </a:lnTo>
                  <a:lnTo>
                    <a:pt x="1150" y="244"/>
                  </a:lnTo>
                  <a:lnTo>
                    <a:pt x="1182" y="258"/>
                  </a:lnTo>
                  <a:lnTo>
                    <a:pt x="1214" y="272"/>
                  </a:lnTo>
                  <a:lnTo>
                    <a:pt x="1244" y="286"/>
                  </a:lnTo>
                  <a:lnTo>
                    <a:pt x="1274" y="304"/>
                  </a:lnTo>
                  <a:lnTo>
                    <a:pt x="1302" y="322"/>
                  </a:lnTo>
                  <a:lnTo>
                    <a:pt x="1330" y="342"/>
                  </a:lnTo>
                  <a:lnTo>
                    <a:pt x="1356" y="362"/>
                  </a:lnTo>
                  <a:lnTo>
                    <a:pt x="1382" y="386"/>
                  </a:lnTo>
                  <a:lnTo>
                    <a:pt x="1406" y="408"/>
                  </a:lnTo>
                  <a:lnTo>
                    <a:pt x="1430" y="432"/>
                  </a:lnTo>
                  <a:lnTo>
                    <a:pt x="1452" y="458"/>
                  </a:lnTo>
                  <a:lnTo>
                    <a:pt x="1474" y="486"/>
                  </a:lnTo>
                  <a:lnTo>
                    <a:pt x="1492" y="512"/>
                  </a:lnTo>
                  <a:lnTo>
                    <a:pt x="1512" y="542"/>
                  </a:lnTo>
                  <a:lnTo>
                    <a:pt x="1528" y="572"/>
                  </a:lnTo>
                  <a:lnTo>
                    <a:pt x="1544" y="602"/>
                  </a:lnTo>
                  <a:lnTo>
                    <a:pt x="1558" y="632"/>
                  </a:lnTo>
                  <a:lnTo>
                    <a:pt x="1570" y="664"/>
                  </a:lnTo>
                  <a:lnTo>
                    <a:pt x="1582" y="698"/>
                  </a:lnTo>
                  <a:lnTo>
                    <a:pt x="1592" y="732"/>
                  </a:lnTo>
                  <a:lnTo>
                    <a:pt x="1598" y="766"/>
                  </a:lnTo>
                  <a:lnTo>
                    <a:pt x="1606" y="800"/>
                  </a:lnTo>
                  <a:lnTo>
                    <a:pt x="1610" y="836"/>
                  </a:lnTo>
                  <a:lnTo>
                    <a:pt x="1612" y="872"/>
                  </a:lnTo>
                  <a:lnTo>
                    <a:pt x="1614" y="908"/>
                  </a:lnTo>
                  <a:lnTo>
                    <a:pt x="1612" y="944"/>
                  </a:lnTo>
                  <a:lnTo>
                    <a:pt x="1610" y="980"/>
                  </a:lnTo>
                  <a:lnTo>
                    <a:pt x="1606" y="1016"/>
                  </a:lnTo>
                  <a:lnTo>
                    <a:pt x="1598" y="1050"/>
                  </a:lnTo>
                  <a:lnTo>
                    <a:pt x="1592" y="1084"/>
                  </a:lnTo>
                  <a:lnTo>
                    <a:pt x="1582" y="1118"/>
                  </a:lnTo>
                  <a:lnTo>
                    <a:pt x="1570" y="1150"/>
                  </a:lnTo>
                  <a:lnTo>
                    <a:pt x="1558" y="1182"/>
                  </a:lnTo>
                  <a:lnTo>
                    <a:pt x="1544" y="1214"/>
                  </a:lnTo>
                  <a:lnTo>
                    <a:pt x="1528" y="1244"/>
                  </a:lnTo>
                  <a:lnTo>
                    <a:pt x="1512" y="1274"/>
                  </a:lnTo>
                  <a:lnTo>
                    <a:pt x="1492" y="1302"/>
                  </a:lnTo>
                  <a:lnTo>
                    <a:pt x="1474" y="1330"/>
                  </a:lnTo>
                  <a:lnTo>
                    <a:pt x="1452" y="1356"/>
                  </a:lnTo>
                  <a:lnTo>
                    <a:pt x="1430" y="1382"/>
                  </a:lnTo>
                  <a:lnTo>
                    <a:pt x="1406" y="1406"/>
                  </a:lnTo>
                  <a:lnTo>
                    <a:pt x="1382" y="1430"/>
                  </a:lnTo>
                  <a:lnTo>
                    <a:pt x="1356" y="1452"/>
                  </a:lnTo>
                  <a:lnTo>
                    <a:pt x="1330" y="1474"/>
                  </a:lnTo>
                  <a:lnTo>
                    <a:pt x="1302" y="1492"/>
                  </a:lnTo>
                  <a:lnTo>
                    <a:pt x="1274" y="1512"/>
                  </a:lnTo>
                  <a:lnTo>
                    <a:pt x="1244" y="1528"/>
                  </a:lnTo>
                  <a:lnTo>
                    <a:pt x="1214" y="1544"/>
                  </a:lnTo>
                  <a:lnTo>
                    <a:pt x="1182" y="1558"/>
                  </a:lnTo>
                  <a:lnTo>
                    <a:pt x="1150" y="1570"/>
                  </a:lnTo>
                  <a:lnTo>
                    <a:pt x="1118" y="1582"/>
                  </a:lnTo>
                  <a:lnTo>
                    <a:pt x="1084" y="1592"/>
                  </a:lnTo>
                  <a:lnTo>
                    <a:pt x="1050" y="1600"/>
                  </a:lnTo>
                  <a:lnTo>
                    <a:pt x="1014" y="1606"/>
                  </a:lnTo>
                  <a:lnTo>
                    <a:pt x="980" y="1610"/>
                  </a:lnTo>
                  <a:lnTo>
                    <a:pt x="944" y="1612"/>
                  </a:lnTo>
                  <a:lnTo>
                    <a:pt x="908" y="1614"/>
                  </a:lnTo>
                  <a:close/>
                </a:path>
              </a:pathLst>
            </a:custGeom>
            <a:solidFill>
              <a:srgbClr val="808080">
                <a:alpha val="79999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73" name="Oval 677"/>
            <p:cNvSpPr>
              <a:spLocks noChangeArrowheads="1"/>
            </p:cNvSpPr>
            <p:nvPr/>
          </p:nvSpPr>
          <p:spPr bwMode="auto">
            <a:xfrm rot="21275257">
              <a:off x="4505325" y="2105025"/>
              <a:ext cx="1801813" cy="1801813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endParaRPr lang="ko-KR" altLang="en-US"/>
            </a:p>
          </p:txBody>
        </p:sp>
      </p:grpSp>
      <p:grpSp>
        <p:nvGrpSpPr>
          <p:cNvPr id="74" name="组合 73"/>
          <p:cNvGrpSpPr/>
          <p:nvPr/>
        </p:nvGrpSpPr>
        <p:grpSpPr>
          <a:xfrm>
            <a:off x="5697537" y="3703637"/>
            <a:ext cx="2303463" cy="2305050"/>
            <a:chOff x="5581650" y="3787775"/>
            <a:chExt cx="2303463" cy="2305050"/>
          </a:xfrm>
        </p:grpSpPr>
        <p:sp>
          <p:nvSpPr>
            <p:cNvPr id="75" name="Freeform 679"/>
            <p:cNvSpPr>
              <a:spLocks noEditPoints="1"/>
            </p:cNvSpPr>
            <p:nvPr/>
          </p:nvSpPr>
          <p:spPr bwMode="auto">
            <a:xfrm rot="21275257">
              <a:off x="5581650" y="3787775"/>
              <a:ext cx="2303463" cy="2305050"/>
            </a:xfrm>
            <a:custGeom>
              <a:avLst/>
              <a:gdLst>
                <a:gd name="T0" fmla="*/ 0 w 1816"/>
                <a:gd name="T1" fmla="*/ 0 h 1816"/>
                <a:gd name="T2" fmla="*/ 1816 w 1816"/>
                <a:gd name="T3" fmla="*/ 1816 h 1816"/>
              </a:gdLst>
              <a:ahLst/>
              <a:cxnLst>
                <a:cxn ang="0">
                  <a:pos x="1706" y="792"/>
                </a:cxn>
                <a:cxn ang="0">
                  <a:pos x="1774" y="626"/>
                </a:cxn>
                <a:cxn ang="0">
                  <a:pos x="1578" y="460"/>
                </a:cxn>
                <a:cxn ang="0">
                  <a:pos x="1498" y="216"/>
                </a:cxn>
                <a:cxn ang="0">
                  <a:pos x="1318" y="214"/>
                </a:cxn>
                <a:cxn ang="0">
                  <a:pos x="1150" y="138"/>
                </a:cxn>
                <a:cxn ang="0">
                  <a:pos x="978" y="104"/>
                </a:cxn>
                <a:cxn ang="0">
                  <a:pos x="792" y="110"/>
                </a:cxn>
                <a:cxn ang="0">
                  <a:pos x="626" y="42"/>
                </a:cxn>
                <a:cxn ang="0">
                  <a:pos x="460" y="236"/>
                </a:cxn>
                <a:cxn ang="0">
                  <a:pos x="216" y="316"/>
                </a:cxn>
                <a:cxn ang="0">
                  <a:pos x="214" y="496"/>
                </a:cxn>
                <a:cxn ang="0">
                  <a:pos x="138" y="666"/>
                </a:cxn>
                <a:cxn ang="0">
                  <a:pos x="104" y="836"/>
                </a:cxn>
                <a:cxn ang="0">
                  <a:pos x="108" y="1022"/>
                </a:cxn>
                <a:cxn ang="0">
                  <a:pos x="42" y="1190"/>
                </a:cxn>
                <a:cxn ang="0">
                  <a:pos x="236" y="1356"/>
                </a:cxn>
                <a:cxn ang="0">
                  <a:pos x="316" y="1600"/>
                </a:cxn>
                <a:cxn ang="0">
                  <a:pos x="496" y="1602"/>
                </a:cxn>
                <a:cxn ang="0">
                  <a:pos x="666" y="1678"/>
                </a:cxn>
                <a:cxn ang="0">
                  <a:pos x="836" y="1712"/>
                </a:cxn>
                <a:cxn ang="0">
                  <a:pos x="1022" y="1706"/>
                </a:cxn>
                <a:cxn ang="0">
                  <a:pos x="1188" y="1774"/>
                </a:cxn>
                <a:cxn ang="0">
                  <a:pos x="1356" y="1578"/>
                </a:cxn>
                <a:cxn ang="0">
                  <a:pos x="1600" y="1500"/>
                </a:cxn>
                <a:cxn ang="0">
                  <a:pos x="1602" y="1320"/>
                </a:cxn>
                <a:cxn ang="0">
                  <a:pos x="1678" y="1150"/>
                </a:cxn>
                <a:cxn ang="0">
                  <a:pos x="1710" y="978"/>
                </a:cxn>
                <a:cxn ang="0">
                  <a:pos x="872" y="1612"/>
                </a:cxn>
                <a:cxn ang="0">
                  <a:pos x="730" y="1592"/>
                </a:cxn>
                <a:cxn ang="0">
                  <a:pos x="602" y="1544"/>
                </a:cxn>
                <a:cxn ang="0">
                  <a:pos x="484" y="1474"/>
                </a:cxn>
                <a:cxn ang="0">
                  <a:pos x="384" y="1382"/>
                </a:cxn>
                <a:cxn ang="0">
                  <a:pos x="304" y="1274"/>
                </a:cxn>
                <a:cxn ang="0">
                  <a:pos x="244" y="1150"/>
                </a:cxn>
                <a:cxn ang="0">
                  <a:pos x="210" y="1016"/>
                </a:cxn>
                <a:cxn ang="0">
                  <a:pos x="202" y="872"/>
                </a:cxn>
                <a:cxn ang="0">
                  <a:pos x="224" y="732"/>
                </a:cxn>
                <a:cxn ang="0">
                  <a:pos x="272" y="602"/>
                </a:cxn>
                <a:cxn ang="0">
                  <a:pos x="342" y="486"/>
                </a:cxn>
                <a:cxn ang="0">
                  <a:pos x="432" y="386"/>
                </a:cxn>
                <a:cxn ang="0">
                  <a:pos x="542" y="304"/>
                </a:cxn>
                <a:cxn ang="0">
                  <a:pos x="664" y="244"/>
                </a:cxn>
                <a:cxn ang="0">
                  <a:pos x="800" y="210"/>
                </a:cxn>
                <a:cxn ang="0">
                  <a:pos x="944" y="202"/>
                </a:cxn>
                <a:cxn ang="0">
                  <a:pos x="1084" y="224"/>
                </a:cxn>
                <a:cxn ang="0">
                  <a:pos x="1214" y="272"/>
                </a:cxn>
                <a:cxn ang="0">
                  <a:pos x="1330" y="342"/>
                </a:cxn>
                <a:cxn ang="0">
                  <a:pos x="1430" y="432"/>
                </a:cxn>
                <a:cxn ang="0">
                  <a:pos x="1512" y="542"/>
                </a:cxn>
                <a:cxn ang="0">
                  <a:pos x="1570" y="664"/>
                </a:cxn>
                <a:cxn ang="0">
                  <a:pos x="1606" y="800"/>
                </a:cxn>
                <a:cxn ang="0">
                  <a:pos x="1612" y="944"/>
                </a:cxn>
                <a:cxn ang="0">
                  <a:pos x="1592" y="1084"/>
                </a:cxn>
                <a:cxn ang="0">
                  <a:pos x="1544" y="1214"/>
                </a:cxn>
                <a:cxn ang="0">
                  <a:pos x="1474" y="1330"/>
                </a:cxn>
                <a:cxn ang="0">
                  <a:pos x="1382" y="1430"/>
                </a:cxn>
                <a:cxn ang="0">
                  <a:pos x="1274" y="1512"/>
                </a:cxn>
                <a:cxn ang="0">
                  <a:pos x="1150" y="1570"/>
                </a:cxn>
                <a:cxn ang="0">
                  <a:pos x="1014" y="1606"/>
                </a:cxn>
              </a:cxnLst>
              <a:rect l="T0" t="T1" r="T2" b="T3"/>
              <a:pathLst>
                <a:path w="1816" h="1816">
                  <a:moveTo>
                    <a:pt x="1816" y="978"/>
                  </a:moveTo>
                  <a:lnTo>
                    <a:pt x="1816" y="836"/>
                  </a:lnTo>
                  <a:lnTo>
                    <a:pt x="1710" y="836"/>
                  </a:lnTo>
                  <a:lnTo>
                    <a:pt x="1706" y="792"/>
                  </a:lnTo>
                  <a:lnTo>
                    <a:pt x="1698" y="750"/>
                  </a:lnTo>
                  <a:lnTo>
                    <a:pt x="1688" y="708"/>
                  </a:lnTo>
                  <a:lnTo>
                    <a:pt x="1678" y="666"/>
                  </a:lnTo>
                  <a:lnTo>
                    <a:pt x="1774" y="626"/>
                  </a:lnTo>
                  <a:lnTo>
                    <a:pt x="1718" y="494"/>
                  </a:lnTo>
                  <a:lnTo>
                    <a:pt x="1622" y="534"/>
                  </a:lnTo>
                  <a:lnTo>
                    <a:pt x="1602" y="496"/>
                  </a:lnTo>
                  <a:lnTo>
                    <a:pt x="1578" y="460"/>
                  </a:lnTo>
                  <a:lnTo>
                    <a:pt x="1552" y="424"/>
                  </a:lnTo>
                  <a:lnTo>
                    <a:pt x="1526" y="390"/>
                  </a:lnTo>
                  <a:lnTo>
                    <a:pt x="1600" y="316"/>
                  </a:lnTo>
                  <a:lnTo>
                    <a:pt x="1498" y="216"/>
                  </a:lnTo>
                  <a:lnTo>
                    <a:pt x="1426" y="290"/>
                  </a:lnTo>
                  <a:lnTo>
                    <a:pt x="1392" y="262"/>
                  </a:lnTo>
                  <a:lnTo>
                    <a:pt x="1356" y="236"/>
                  </a:lnTo>
                  <a:lnTo>
                    <a:pt x="1318" y="214"/>
                  </a:lnTo>
                  <a:lnTo>
                    <a:pt x="1280" y="192"/>
                  </a:lnTo>
                  <a:lnTo>
                    <a:pt x="1320" y="96"/>
                  </a:lnTo>
                  <a:lnTo>
                    <a:pt x="1188" y="42"/>
                  </a:lnTo>
                  <a:lnTo>
                    <a:pt x="1150" y="138"/>
                  </a:lnTo>
                  <a:lnTo>
                    <a:pt x="1108" y="126"/>
                  </a:lnTo>
                  <a:lnTo>
                    <a:pt x="1066" y="116"/>
                  </a:lnTo>
                  <a:lnTo>
                    <a:pt x="1022" y="110"/>
                  </a:lnTo>
                  <a:lnTo>
                    <a:pt x="978" y="104"/>
                  </a:lnTo>
                  <a:lnTo>
                    <a:pt x="978" y="0"/>
                  </a:lnTo>
                  <a:lnTo>
                    <a:pt x="836" y="0"/>
                  </a:lnTo>
                  <a:lnTo>
                    <a:pt x="836" y="104"/>
                  </a:lnTo>
                  <a:lnTo>
                    <a:pt x="792" y="110"/>
                  </a:lnTo>
                  <a:lnTo>
                    <a:pt x="750" y="116"/>
                  </a:lnTo>
                  <a:lnTo>
                    <a:pt x="706" y="126"/>
                  </a:lnTo>
                  <a:lnTo>
                    <a:pt x="666" y="138"/>
                  </a:lnTo>
                  <a:lnTo>
                    <a:pt x="626" y="42"/>
                  </a:lnTo>
                  <a:lnTo>
                    <a:pt x="494" y="96"/>
                  </a:lnTo>
                  <a:lnTo>
                    <a:pt x="534" y="192"/>
                  </a:lnTo>
                  <a:lnTo>
                    <a:pt x="496" y="214"/>
                  </a:lnTo>
                  <a:lnTo>
                    <a:pt x="460" y="236"/>
                  </a:lnTo>
                  <a:lnTo>
                    <a:pt x="424" y="262"/>
                  </a:lnTo>
                  <a:lnTo>
                    <a:pt x="390" y="290"/>
                  </a:lnTo>
                  <a:lnTo>
                    <a:pt x="316" y="216"/>
                  </a:lnTo>
                  <a:lnTo>
                    <a:pt x="216" y="316"/>
                  </a:lnTo>
                  <a:lnTo>
                    <a:pt x="288" y="390"/>
                  </a:lnTo>
                  <a:lnTo>
                    <a:pt x="262" y="424"/>
                  </a:lnTo>
                  <a:lnTo>
                    <a:pt x="236" y="460"/>
                  </a:lnTo>
                  <a:lnTo>
                    <a:pt x="214" y="496"/>
                  </a:lnTo>
                  <a:lnTo>
                    <a:pt x="192" y="534"/>
                  </a:lnTo>
                  <a:lnTo>
                    <a:pt x="96" y="494"/>
                  </a:lnTo>
                  <a:lnTo>
                    <a:pt x="42" y="626"/>
                  </a:lnTo>
                  <a:lnTo>
                    <a:pt x="138" y="666"/>
                  </a:lnTo>
                  <a:lnTo>
                    <a:pt x="126" y="708"/>
                  </a:lnTo>
                  <a:lnTo>
                    <a:pt x="116" y="750"/>
                  </a:lnTo>
                  <a:lnTo>
                    <a:pt x="108" y="792"/>
                  </a:lnTo>
                  <a:lnTo>
                    <a:pt x="104" y="836"/>
                  </a:lnTo>
                  <a:lnTo>
                    <a:pt x="0" y="836"/>
                  </a:lnTo>
                  <a:lnTo>
                    <a:pt x="0" y="978"/>
                  </a:lnTo>
                  <a:lnTo>
                    <a:pt x="104" y="978"/>
                  </a:lnTo>
                  <a:lnTo>
                    <a:pt x="108" y="1022"/>
                  </a:lnTo>
                  <a:lnTo>
                    <a:pt x="116" y="1066"/>
                  </a:lnTo>
                  <a:lnTo>
                    <a:pt x="126" y="1108"/>
                  </a:lnTo>
                  <a:lnTo>
                    <a:pt x="138" y="1150"/>
                  </a:lnTo>
                  <a:lnTo>
                    <a:pt x="42" y="1190"/>
                  </a:lnTo>
                  <a:lnTo>
                    <a:pt x="96" y="1320"/>
                  </a:lnTo>
                  <a:lnTo>
                    <a:pt x="192" y="1280"/>
                  </a:lnTo>
                  <a:lnTo>
                    <a:pt x="214" y="1320"/>
                  </a:lnTo>
                  <a:lnTo>
                    <a:pt x="236" y="1356"/>
                  </a:lnTo>
                  <a:lnTo>
                    <a:pt x="262" y="1392"/>
                  </a:lnTo>
                  <a:lnTo>
                    <a:pt x="288" y="1426"/>
                  </a:lnTo>
                  <a:lnTo>
                    <a:pt x="216" y="1500"/>
                  </a:lnTo>
                  <a:lnTo>
                    <a:pt x="316" y="1600"/>
                  </a:lnTo>
                  <a:lnTo>
                    <a:pt x="390" y="1526"/>
                  </a:lnTo>
                  <a:lnTo>
                    <a:pt x="424" y="1554"/>
                  </a:lnTo>
                  <a:lnTo>
                    <a:pt x="460" y="1578"/>
                  </a:lnTo>
                  <a:lnTo>
                    <a:pt x="496" y="1602"/>
                  </a:lnTo>
                  <a:lnTo>
                    <a:pt x="534" y="1622"/>
                  </a:lnTo>
                  <a:lnTo>
                    <a:pt x="494" y="1718"/>
                  </a:lnTo>
                  <a:lnTo>
                    <a:pt x="626" y="1774"/>
                  </a:lnTo>
                  <a:lnTo>
                    <a:pt x="666" y="1678"/>
                  </a:lnTo>
                  <a:lnTo>
                    <a:pt x="706" y="1690"/>
                  </a:lnTo>
                  <a:lnTo>
                    <a:pt x="750" y="1698"/>
                  </a:lnTo>
                  <a:lnTo>
                    <a:pt x="792" y="1706"/>
                  </a:lnTo>
                  <a:lnTo>
                    <a:pt x="836" y="1712"/>
                  </a:lnTo>
                  <a:lnTo>
                    <a:pt x="836" y="1816"/>
                  </a:lnTo>
                  <a:lnTo>
                    <a:pt x="978" y="1816"/>
                  </a:lnTo>
                  <a:lnTo>
                    <a:pt x="978" y="1712"/>
                  </a:lnTo>
                  <a:lnTo>
                    <a:pt x="1022" y="1706"/>
                  </a:lnTo>
                  <a:lnTo>
                    <a:pt x="1066" y="1698"/>
                  </a:lnTo>
                  <a:lnTo>
                    <a:pt x="1108" y="1690"/>
                  </a:lnTo>
                  <a:lnTo>
                    <a:pt x="1150" y="1678"/>
                  </a:lnTo>
                  <a:lnTo>
                    <a:pt x="1188" y="1774"/>
                  </a:lnTo>
                  <a:lnTo>
                    <a:pt x="1320" y="1718"/>
                  </a:lnTo>
                  <a:lnTo>
                    <a:pt x="1280" y="1622"/>
                  </a:lnTo>
                  <a:lnTo>
                    <a:pt x="1318" y="1602"/>
                  </a:lnTo>
                  <a:lnTo>
                    <a:pt x="1356" y="1578"/>
                  </a:lnTo>
                  <a:lnTo>
                    <a:pt x="1392" y="1554"/>
                  </a:lnTo>
                  <a:lnTo>
                    <a:pt x="1426" y="1526"/>
                  </a:lnTo>
                  <a:lnTo>
                    <a:pt x="1498" y="1600"/>
                  </a:lnTo>
                  <a:lnTo>
                    <a:pt x="1600" y="1500"/>
                  </a:lnTo>
                  <a:lnTo>
                    <a:pt x="1526" y="1426"/>
                  </a:lnTo>
                  <a:lnTo>
                    <a:pt x="1552" y="1392"/>
                  </a:lnTo>
                  <a:lnTo>
                    <a:pt x="1578" y="1356"/>
                  </a:lnTo>
                  <a:lnTo>
                    <a:pt x="1602" y="1320"/>
                  </a:lnTo>
                  <a:lnTo>
                    <a:pt x="1622" y="1280"/>
                  </a:lnTo>
                  <a:lnTo>
                    <a:pt x="1718" y="1320"/>
                  </a:lnTo>
                  <a:lnTo>
                    <a:pt x="1774" y="1190"/>
                  </a:lnTo>
                  <a:lnTo>
                    <a:pt x="1678" y="1150"/>
                  </a:lnTo>
                  <a:lnTo>
                    <a:pt x="1688" y="1108"/>
                  </a:lnTo>
                  <a:lnTo>
                    <a:pt x="1698" y="1066"/>
                  </a:lnTo>
                  <a:lnTo>
                    <a:pt x="1706" y="1022"/>
                  </a:lnTo>
                  <a:lnTo>
                    <a:pt x="1710" y="978"/>
                  </a:lnTo>
                  <a:lnTo>
                    <a:pt x="1816" y="978"/>
                  </a:lnTo>
                  <a:close/>
                  <a:moveTo>
                    <a:pt x="908" y="1614"/>
                  </a:moveTo>
                  <a:lnTo>
                    <a:pt x="908" y="1614"/>
                  </a:lnTo>
                  <a:lnTo>
                    <a:pt x="872" y="1612"/>
                  </a:lnTo>
                  <a:lnTo>
                    <a:pt x="836" y="1610"/>
                  </a:lnTo>
                  <a:lnTo>
                    <a:pt x="800" y="1606"/>
                  </a:lnTo>
                  <a:lnTo>
                    <a:pt x="766" y="1600"/>
                  </a:lnTo>
                  <a:lnTo>
                    <a:pt x="730" y="1592"/>
                  </a:lnTo>
                  <a:lnTo>
                    <a:pt x="698" y="1582"/>
                  </a:lnTo>
                  <a:lnTo>
                    <a:pt x="664" y="1570"/>
                  </a:lnTo>
                  <a:lnTo>
                    <a:pt x="632" y="1558"/>
                  </a:lnTo>
                  <a:lnTo>
                    <a:pt x="602" y="1544"/>
                  </a:lnTo>
                  <a:lnTo>
                    <a:pt x="570" y="1528"/>
                  </a:lnTo>
                  <a:lnTo>
                    <a:pt x="542" y="1512"/>
                  </a:lnTo>
                  <a:lnTo>
                    <a:pt x="512" y="1492"/>
                  </a:lnTo>
                  <a:lnTo>
                    <a:pt x="484" y="1474"/>
                  </a:lnTo>
                  <a:lnTo>
                    <a:pt x="458" y="1452"/>
                  </a:lnTo>
                  <a:lnTo>
                    <a:pt x="432" y="1430"/>
                  </a:lnTo>
                  <a:lnTo>
                    <a:pt x="408" y="1406"/>
                  </a:lnTo>
                  <a:lnTo>
                    <a:pt x="384" y="1382"/>
                  </a:lnTo>
                  <a:lnTo>
                    <a:pt x="362" y="1356"/>
                  </a:lnTo>
                  <a:lnTo>
                    <a:pt x="342" y="1330"/>
                  </a:lnTo>
                  <a:lnTo>
                    <a:pt x="322" y="1302"/>
                  </a:lnTo>
                  <a:lnTo>
                    <a:pt x="304" y="1274"/>
                  </a:lnTo>
                  <a:lnTo>
                    <a:pt x="286" y="1244"/>
                  </a:lnTo>
                  <a:lnTo>
                    <a:pt x="272" y="1214"/>
                  </a:lnTo>
                  <a:lnTo>
                    <a:pt x="256" y="1182"/>
                  </a:lnTo>
                  <a:lnTo>
                    <a:pt x="244" y="1150"/>
                  </a:lnTo>
                  <a:lnTo>
                    <a:pt x="234" y="1118"/>
                  </a:lnTo>
                  <a:lnTo>
                    <a:pt x="224" y="1084"/>
                  </a:lnTo>
                  <a:lnTo>
                    <a:pt x="216" y="1050"/>
                  </a:lnTo>
                  <a:lnTo>
                    <a:pt x="210" y="1016"/>
                  </a:lnTo>
                  <a:lnTo>
                    <a:pt x="206" y="980"/>
                  </a:lnTo>
                  <a:lnTo>
                    <a:pt x="202" y="944"/>
                  </a:lnTo>
                  <a:lnTo>
                    <a:pt x="202" y="908"/>
                  </a:lnTo>
                  <a:lnTo>
                    <a:pt x="202" y="872"/>
                  </a:lnTo>
                  <a:lnTo>
                    <a:pt x="206" y="836"/>
                  </a:lnTo>
                  <a:lnTo>
                    <a:pt x="210" y="800"/>
                  </a:lnTo>
                  <a:lnTo>
                    <a:pt x="216" y="766"/>
                  </a:lnTo>
                  <a:lnTo>
                    <a:pt x="224" y="732"/>
                  </a:lnTo>
                  <a:lnTo>
                    <a:pt x="234" y="698"/>
                  </a:lnTo>
                  <a:lnTo>
                    <a:pt x="244" y="664"/>
                  </a:lnTo>
                  <a:lnTo>
                    <a:pt x="256" y="632"/>
                  </a:lnTo>
                  <a:lnTo>
                    <a:pt x="272" y="602"/>
                  </a:lnTo>
                  <a:lnTo>
                    <a:pt x="286" y="572"/>
                  </a:lnTo>
                  <a:lnTo>
                    <a:pt x="304" y="542"/>
                  </a:lnTo>
                  <a:lnTo>
                    <a:pt x="322" y="512"/>
                  </a:lnTo>
                  <a:lnTo>
                    <a:pt x="342" y="486"/>
                  </a:lnTo>
                  <a:lnTo>
                    <a:pt x="362" y="458"/>
                  </a:lnTo>
                  <a:lnTo>
                    <a:pt x="384" y="432"/>
                  </a:lnTo>
                  <a:lnTo>
                    <a:pt x="408" y="408"/>
                  </a:lnTo>
                  <a:lnTo>
                    <a:pt x="432" y="386"/>
                  </a:lnTo>
                  <a:lnTo>
                    <a:pt x="458" y="362"/>
                  </a:lnTo>
                  <a:lnTo>
                    <a:pt x="484" y="342"/>
                  </a:lnTo>
                  <a:lnTo>
                    <a:pt x="512" y="322"/>
                  </a:lnTo>
                  <a:lnTo>
                    <a:pt x="542" y="304"/>
                  </a:lnTo>
                  <a:lnTo>
                    <a:pt x="570" y="286"/>
                  </a:lnTo>
                  <a:lnTo>
                    <a:pt x="602" y="272"/>
                  </a:lnTo>
                  <a:lnTo>
                    <a:pt x="632" y="258"/>
                  </a:lnTo>
                  <a:lnTo>
                    <a:pt x="664" y="244"/>
                  </a:lnTo>
                  <a:lnTo>
                    <a:pt x="698" y="234"/>
                  </a:lnTo>
                  <a:lnTo>
                    <a:pt x="730" y="224"/>
                  </a:lnTo>
                  <a:lnTo>
                    <a:pt x="766" y="216"/>
                  </a:lnTo>
                  <a:lnTo>
                    <a:pt x="800" y="210"/>
                  </a:lnTo>
                  <a:lnTo>
                    <a:pt x="836" y="206"/>
                  </a:lnTo>
                  <a:lnTo>
                    <a:pt x="872" y="202"/>
                  </a:lnTo>
                  <a:lnTo>
                    <a:pt x="908" y="202"/>
                  </a:lnTo>
                  <a:lnTo>
                    <a:pt x="944" y="202"/>
                  </a:lnTo>
                  <a:lnTo>
                    <a:pt x="980" y="206"/>
                  </a:lnTo>
                  <a:lnTo>
                    <a:pt x="1014" y="210"/>
                  </a:lnTo>
                  <a:lnTo>
                    <a:pt x="1050" y="216"/>
                  </a:lnTo>
                  <a:lnTo>
                    <a:pt x="1084" y="224"/>
                  </a:lnTo>
                  <a:lnTo>
                    <a:pt x="1118" y="234"/>
                  </a:lnTo>
                  <a:lnTo>
                    <a:pt x="1150" y="244"/>
                  </a:lnTo>
                  <a:lnTo>
                    <a:pt x="1182" y="258"/>
                  </a:lnTo>
                  <a:lnTo>
                    <a:pt x="1214" y="272"/>
                  </a:lnTo>
                  <a:lnTo>
                    <a:pt x="1244" y="286"/>
                  </a:lnTo>
                  <a:lnTo>
                    <a:pt x="1274" y="304"/>
                  </a:lnTo>
                  <a:lnTo>
                    <a:pt x="1302" y="322"/>
                  </a:lnTo>
                  <a:lnTo>
                    <a:pt x="1330" y="342"/>
                  </a:lnTo>
                  <a:lnTo>
                    <a:pt x="1356" y="362"/>
                  </a:lnTo>
                  <a:lnTo>
                    <a:pt x="1382" y="386"/>
                  </a:lnTo>
                  <a:lnTo>
                    <a:pt x="1406" y="408"/>
                  </a:lnTo>
                  <a:lnTo>
                    <a:pt x="1430" y="432"/>
                  </a:lnTo>
                  <a:lnTo>
                    <a:pt x="1452" y="458"/>
                  </a:lnTo>
                  <a:lnTo>
                    <a:pt x="1474" y="486"/>
                  </a:lnTo>
                  <a:lnTo>
                    <a:pt x="1492" y="512"/>
                  </a:lnTo>
                  <a:lnTo>
                    <a:pt x="1512" y="542"/>
                  </a:lnTo>
                  <a:lnTo>
                    <a:pt x="1528" y="572"/>
                  </a:lnTo>
                  <a:lnTo>
                    <a:pt x="1544" y="602"/>
                  </a:lnTo>
                  <a:lnTo>
                    <a:pt x="1558" y="632"/>
                  </a:lnTo>
                  <a:lnTo>
                    <a:pt x="1570" y="664"/>
                  </a:lnTo>
                  <a:lnTo>
                    <a:pt x="1582" y="698"/>
                  </a:lnTo>
                  <a:lnTo>
                    <a:pt x="1592" y="732"/>
                  </a:lnTo>
                  <a:lnTo>
                    <a:pt x="1598" y="766"/>
                  </a:lnTo>
                  <a:lnTo>
                    <a:pt x="1606" y="800"/>
                  </a:lnTo>
                  <a:lnTo>
                    <a:pt x="1610" y="836"/>
                  </a:lnTo>
                  <a:lnTo>
                    <a:pt x="1612" y="872"/>
                  </a:lnTo>
                  <a:lnTo>
                    <a:pt x="1614" y="908"/>
                  </a:lnTo>
                  <a:lnTo>
                    <a:pt x="1612" y="944"/>
                  </a:lnTo>
                  <a:lnTo>
                    <a:pt x="1610" y="980"/>
                  </a:lnTo>
                  <a:lnTo>
                    <a:pt x="1606" y="1016"/>
                  </a:lnTo>
                  <a:lnTo>
                    <a:pt x="1598" y="1050"/>
                  </a:lnTo>
                  <a:lnTo>
                    <a:pt x="1592" y="1084"/>
                  </a:lnTo>
                  <a:lnTo>
                    <a:pt x="1582" y="1118"/>
                  </a:lnTo>
                  <a:lnTo>
                    <a:pt x="1570" y="1150"/>
                  </a:lnTo>
                  <a:lnTo>
                    <a:pt x="1558" y="1182"/>
                  </a:lnTo>
                  <a:lnTo>
                    <a:pt x="1544" y="1214"/>
                  </a:lnTo>
                  <a:lnTo>
                    <a:pt x="1528" y="1244"/>
                  </a:lnTo>
                  <a:lnTo>
                    <a:pt x="1512" y="1274"/>
                  </a:lnTo>
                  <a:lnTo>
                    <a:pt x="1492" y="1302"/>
                  </a:lnTo>
                  <a:lnTo>
                    <a:pt x="1474" y="1330"/>
                  </a:lnTo>
                  <a:lnTo>
                    <a:pt x="1452" y="1356"/>
                  </a:lnTo>
                  <a:lnTo>
                    <a:pt x="1430" y="1382"/>
                  </a:lnTo>
                  <a:lnTo>
                    <a:pt x="1406" y="1406"/>
                  </a:lnTo>
                  <a:lnTo>
                    <a:pt x="1382" y="1430"/>
                  </a:lnTo>
                  <a:lnTo>
                    <a:pt x="1356" y="1452"/>
                  </a:lnTo>
                  <a:lnTo>
                    <a:pt x="1330" y="1474"/>
                  </a:lnTo>
                  <a:lnTo>
                    <a:pt x="1302" y="1492"/>
                  </a:lnTo>
                  <a:lnTo>
                    <a:pt x="1274" y="1512"/>
                  </a:lnTo>
                  <a:lnTo>
                    <a:pt x="1244" y="1528"/>
                  </a:lnTo>
                  <a:lnTo>
                    <a:pt x="1214" y="1544"/>
                  </a:lnTo>
                  <a:lnTo>
                    <a:pt x="1182" y="1558"/>
                  </a:lnTo>
                  <a:lnTo>
                    <a:pt x="1150" y="1570"/>
                  </a:lnTo>
                  <a:lnTo>
                    <a:pt x="1118" y="1582"/>
                  </a:lnTo>
                  <a:lnTo>
                    <a:pt x="1084" y="1592"/>
                  </a:lnTo>
                  <a:lnTo>
                    <a:pt x="1050" y="1600"/>
                  </a:lnTo>
                  <a:lnTo>
                    <a:pt x="1014" y="1606"/>
                  </a:lnTo>
                  <a:lnTo>
                    <a:pt x="980" y="1610"/>
                  </a:lnTo>
                  <a:lnTo>
                    <a:pt x="944" y="1612"/>
                  </a:lnTo>
                  <a:lnTo>
                    <a:pt x="908" y="1614"/>
                  </a:lnTo>
                  <a:close/>
                </a:path>
              </a:pathLst>
            </a:custGeom>
            <a:solidFill>
              <a:srgbClr val="808080">
                <a:alpha val="79999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76" name="Oval 680"/>
            <p:cNvSpPr>
              <a:spLocks noChangeArrowheads="1"/>
            </p:cNvSpPr>
            <p:nvPr/>
          </p:nvSpPr>
          <p:spPr bwMode="auto">
            <a:xfrm rot="21275257">
              <a:off x="5943600" y="4151313"/>
              <a:ext cx="1577975" cy="1577975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endParaRPr lang="ko-KR" altLang="en-US"/>
            </a:p>
          </p:txBody>
        </p:sp>
      </p:grpSp>
      <p:sp>
        <p:nvSpPr>
          <p:cNvPr id="77" name="Arc 681"/>
          <p:cNvSpPr>
            <a:spLocks/>
          </p:cNvSpPr>
          <p:nvPr/>
        </p:nvSpPr>
        <p:spPr bwMode="auto">
          <a:xfrm rot="7501686">
            <a:off x="4145756" y="3636169"/>
            <a:ext cx="1906587" cy="1549400"/>
          </a:xfrm>
          <a:custGeom>
            <a:avLst/>
            <a:gdLst>
              <a:gd name="T0" fmla="*/ 0 w 21600"/>
              <a:gd name="T1" fmla="*/ 0 h 15695"/>
              <a:gd name="T2" fmla="*/ 21600 w 21600"/>
              <a:gd name="T3" fmla="*/ 15695 h 15695"/>
            </a:gdLst>
            <a:ahLst/>
            <a:cxnLst>
              <a:cxn ang="0">
                <a:pos x="14840" y="-1"/>
              </a:cxn>
              <a:cxn ang="0">
                <a:pos x="21600" y="15695"/>
              </a:cxn>
              <a:cxn ang="0">
                <a:pos x="14840" y="-1"/>
              </a:cxn>
              <a:cxn ang="0">
                <a:pos x="21600" y="15695"/>
              </a:cxn>
              <a:cxn ang="0">
                <a:pos x="0" y="15695"/>
              </a:cxn>
              <a:cxn ang="0">
                <a:pos x="14840" y="-1"/>
              </a:cxn>
            </a:cxnLst>
            <a:rect l="T0" t="T1" r="T2" b="T3"/>
            <a:pathLst>
              <a:path w="21600" h="15695" fill="none" extrusionOk="0">
                <a:moveTo>
                  <a:pt x="14840" y="-1"/>
                </a:moveTo>
                <a:cubicBezTo>
                  <a:pt x="19155" y="4079"/>
                  <a:pt x="21600" y="9756"/>
                  <a:pt x="21600" y="15695"/>
                </a:cubicBezTo>
              </a:path>
              <a:path w="21600" h="15695" stroke="0" extrusionOk="0">
                <a:moveTo>
                  <a:pt x="14840" y="-1"/>
                </a:moveTo>
                <a:cubicBezTo>
                  <a:pt x="19155" y="4079"/>
                  <a:pt x="21600" y="9756"/>
                  <a:pt x="21600" y="15695"/>
                </a:cubicBezTo>
                <a:lnTo>
                  <a:pt x="0" y="15695"/>
                </a:lnTo>
                <a:lnTo>
                  <a:pt x="14840" y="-1"/>
                </a:lnTo>
                <a:close/>
              </a:path>
            </a:pathLst>
          </a:custGeom>
          <a:noFill/>
          <a:ln w="38100" cmpd="sng">
            <a:solidFill>
              <a:schemeClr val="tx1"/>
            </a:solidFill>
            <a:prstDash val="sysDot"/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78" name="Arc 683"/>
          <p:cNvSpPr>
            <a:spLocks/>
          </p:cNvSpPr>
          <p:nvPr/>
        </p:nvSpPr>
        <p:spPr bwMode="auto">
          <a:xfrm rot="256945">
            <a:off x="7023100" y="2771775"/>
            <a:ext cx="620712" cy="898525"/>
          </a:xfrm>
          <a:custGeom>
            <a:avLst/>
            <a:gdLst>
              <a:gd name="T0" fmla="*/ 0 w 21600"/>
              <a:gd name="T1" fmla="*/ 0 h 31203"/>
              <a:gd name="T2" fmla="*/ 21600 w 21600"/>
              <a:gd name="T3" fmla="*/ 31203 h 31203"/>
            </a:gdLst>
            <a:ahLst/>
            <a:cxnLst>
              <a:cxn ang="0">
                <a:pos x="3237" y="-1"/>
              </a:cxn>
              <a:cxn ang="0">
                <a:pos x="21600" y="21356"/>
              </a:cxn>
              <a:cxn ang="0">
                <a:pos x="19224" y="31202"/>
              </a:cxn>
              <a:cxn ang="0">
                <a:pos x="3237" y="-1"/>
              </a:cxn>
              <a:cxn ang="0">
                <a:pos x="21600" y="21356"/>
              </a:cxn>
              <a:cxn ang="0">
                <a:pos x="19224" y="31202"/>
              </a:cxn>
              <a:cxn ang="0">
                <a:pos x="0" y="21356"/>
              </a:cxn>
              <a:cxn ang="0">
                <a:pos x="3237" y="-1"/>
              </a:cxn>
            </a:cxnLst>
            <a:rect l="T0" t="T1" r="T2" b="T3"/>
            <a:pathLst>
              <a:path w="21600" h="31203" fill="none" extrusionOk="0">
                <a:moveTo>
                  <a:pt x="3237" y="-1"/>
                </a:moveTo>
                <a:cubicBezTo>
                  <a:pt x="13795" y="1600"/>
                  <a:pt x="21600" y="10676"/>
                  <a:pt x="21600" y="21356"/>
                </a:cubicBezTo>
                <a:cubicBezTo>
                  <a:pt x="21600" y="24780"/>
                  <a:pt x="20785" y="28155"/>
                  <a:pt x="19224" y="31202"/>
                </a:cubicBezTo>
              </a:path>
              <a:path w="21600" h="31203" stroke="0" extrusionOk="0">
                <a:moveTo>
                  <a:pt x="3237" y="-1"/>
                </a:moveTo>
                <a:cubicBezTo>
                  <a:pt x="13795" y="1600"/>
                  <a:pt x="21600" y="10676"/>
                  <a:pt x="21600" y="21356"/>
                </a:cubicBezTo>
                <a:cubicBezTo>
                  <a:pt x="21600" y="24780"/>
                  <a:pt x="20785" y="28155"/>
                  <a:pt x="19224" y="31202"/>
                </a:cubicBezTo>
                <a:lnTo>
                  <a:pt x="0" y="21356"/>
                </a:lnTo>
                <a:lnTo>
                  <a:pt x="3237" y="-1"/>
                </a:lnTo>
                <a:close/>
              </a:path>
            </a:pathLst>
          </a:custGeom>
          <a:noFill/>
          <a:ln w="38100" cmpd="sng">
            <a:solidFill>
              <a:schemeClr val="tx1"/>
            </a:solidFill>
            <a:prstDash val="sysDot"/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79" name="Text Box 25"/>
          <p:cNvSpPr txBox="1">
            <a:spLocks noChangeArrowheads="1"/>
          </p:cNvSpPr>
          <p:nvPr/>
        </p:nvSpPr>
        <p:spPr bwMode="auto">
          <a:xfrm>
            <a:off x="1948384" y="3416300"/>
            <a:ext cx="1453674" cy="33680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600" dirty="0">
                <a:ea typeface="黑体" pitchFamily="49" charset="-122"/>
              </a:rPr>
              <a:t>此处添加内容</a:t>
            </a:r>
          </a:p>
        </p:txBody>
      </p:sp>
      <p:sp>
        <p:nvSpPr>
          <p:cNvPr id="80" name="Text Box 25"/>
          <p:cNvSpPr txBox="1">
            <a:spLocks noChangeArrowheads="1"/>
          </p:cNvSpPr>
          <p:nvPr/>
        </p:nvSpPr>
        <p:spPr bwMode="auto">
          <a:xfrm>
            <a:off x="1948384" y="3021539"/>
            <a:ext cx="1453674" cy="46166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2400" dirty="0" smtClean="0">
                <a:ea typeface="黑体" pitchFamily="49" charset="-122"/>
              </a:rPr>
              <a:t>文本</a:t>
            </a:r>
            <a:endParaRPr lang="zh-CN" altLang="en-US" sz="2400" dirty="0">
              <a:ea typeface="黑体" pitchFamily="49" charset="-122"/>
            </a:endParaRPr>
          </a:p>
        </p:txBody>
      </p:sp>
      <p:sp>
        <p:nvSpPr>
          <p:cNvPr id="81" name="Text Box 25"/>
          <p:cNvSpPr txBox="1">
            <a:spLocks noChangeArrowheads="1"/>
          </p:cNvSpPr>
          <p:nvPr/>
        </p:nvSpPr>
        <p:spPr bwMode="auto">
          <a:xfrm>
            <a:off x="4790020" y="2903005"/>
            <a:ext cx="1453674" cy="33680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600" dirty="0">
                <a:solidFill>
                  <a:schemeClr val="bg2"/>
                </a:solidFill>
                <a:ea typeface="黑体" pitchFamily="49" charset="-122"/>
              </a:rPr>
              <a:t>此处添加内容</a:t>
            </a:r>
          </a:p>
        </p:txBody>
      </p:sp>
      <p:sp>
        <p:nvSpPr>
          <p:cNvPr id="82" name="Text Box 25"/>
          <p:cNvSpPr txBox="1">
            <a:spLocks noChangeArrowheads="1"/>
          </p:cNvSpPr>
          <p:nvPr/>
        </p:nvSpPr>
        <p:spPr bwMode="auto">
          <a:xfrm>
            <a:off x="4790020" y="2508244"/>
            <a:ext cx="1453674" cy="46166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2400" dirty="0" smtClean="0">
                <a:solidFill>
                  <a:schemeClr val="bg2"/>
                </a:solidFill>
                <a:ea typeface="黑体" pitchFamily="49" charset="-122"/>
              </a:rPr>
              <a:t>文本</a:t>
            </a:r>
            <a:endParaRPr lang="zh-CN" altLang="en-US" sz="2400" dirty="0">
              <a:solidFill>
                <a:schemeClr val="bg2"/>
              </a:solidFill>
              <a:ea typeface="黑体" pitchFamily="49" charset="-122"/>
            </a:endParaRPr>
          </a:p>
        </p:txBody>
      </p:sp>
      <p:sp>
        <p:nvSpPr>
          <p:cNvPr id="83" name="Text Box 25"/>
          <p:cNvSpPr txBox="1">
            <a:spLocks noChangeArrowheads="1"/>
          </p:cNvSpPr>
          <p:nvPr/>
        </p:nvSpPr>
        <p:spPr bwMode="auto">
          <a:xfrm>
            <a:off x="6124041" y="4862510"/>
            <a:ext cx="1453674" cy="33680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600" dirty="0">
                <a:solidFill>
                  <a:schemeClr val="bg1"/>
                </a:solidFill>
                <a:ea typeface="黑体" pitchFamily="49" charset="-122"/>
              </a:rPr>
              <a:t>此处添加内容</a:t>
            </a:r>
          </a:p>
        </p:txBody>
      </p:sp>
      <p:sp>
        <p:nvSpPr>
          <p:cNvPr id="84" name="Text Box 25"/>
          <p:cNvSpPr txBox="1">
            <a:spLocks noChangeArrowheads="1"/>
          </p:cNvSpPr>
          <p:nvPr/>
        </p:nvSpPr>
        <p:spPr bwMode="auto">
          <a:xfrm>
            <a:off x="6124041" y="4467749"/>
            <a:ext cx="1453674" cy="46166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2400" dirty="0" smtClean="0">
                <a:solidFill>
                  <a:schemeClr val="bg1"/>
                </a:solidFill>
                <a:ea typeface="黑体" pitchFamily="49" charset="-122"/>
              </a:rPr>
              <a:t>文本</a:t>
            </a:r>
            <a:endParaRPr lang="zh-CN" altLang="en-US" sz="2400" dirty="0">
              <a:solidFill>
                <a:schemeClr val="bg1"/>
              </a:solidFill>
              <a:ea typeface="黑体" pitchFamily="49" charset="-122"/>
            </a:endParaRPr>
          </a:p>
        </p:txBody>
      </p:sp>
      <p:sp>
        <p:nvSpPr>
          <p:cNvPr id="85" name="Text Box 25"/>
          <p:cNvSpPr txBox="1">
            <a:spLocks noChangeArrowheads="1"/>
          </p:cNvSpPr>
          <p:nvPr/>
        </p:nvSpPr>
        <p:spPr bwMode="auto">
          <a:xfrm>
            <a:off x="4473573" y="4702184"/>
            <a:ext cx="1121304" cy="33855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1600" dirty="0" smtClean="0">
                <a:solidFill>
                  <a:schemeClr val="bg2"/>
                </a:solidFill>
                <a:ea typeface="黑体" pitchFamily="49" charset="-122"/>
              </a:rPr>
              <a:t>文本</a:t>
            </a:r>
            <a:endParaRPr lang="zh-CN" altLang="en-US" sz="1600" dirty="0">
              <a:solidFill>
                <a:schemeClr val="bg2"/>
              </a:solidFill>
              <a:ea typeface="黑体" pitchFamily="49" charset="-122"/>
            </a:endParaRPr>
          </a:p>
        </p:txBody>
      </p:sp>
      <p:sp>
        <p:nvSpPr>
          <p:cNvPr id="86" name="Text Box 25"/>
          <p:cNvSpPr txBox="1">
            <a:spLocks noChangeArrowheads="1"/>
          </p:cNvSpPr>
          <p:nvPr/>
        </p:nvSpPr>
        <p:spPr bwMode="auto">
          <a:xfrm>
            <a:off x="3687755" y="1487474"/>
            <a:ext cx="850904" cy="33855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1600" dirty="0" smtClean="0">
                <a:solidFill>
                  <a:schemeClr val="bg2"/>
                </a:solidFill>
                <a:ea typeface="黑体" pitchFamily="49" charset="-122"/>
              </a:rPr>
              <a:t>文本</a:t>
            </a:r>
            <a:endParaRPr lang="zh-CN" altLang="en-US" sz="1600" dirty="0">
              <a:solidFill>
                <a:schemeClr val="bg2"/>
              </a:solidFill>
              <a:ea typeface="黑体" pitchFamily="49" charset="-122"/>
            </a:endParaRPr>
          </a:p>
        </p:txBody>
      </p:sp>
      <p:sp>
        <p:nvSpPr>
          <p:cNvPr id="87" name="Text Box 25"/>
          <p:cNvSpPr txBox="1">
            <a:spLocks noChangeArrowheads="1"/>
          </p:cNvSpPr>
          <p:nvPr/>
        </p:nvSpPr>
        <p:spPr bwMode="auto">
          <a:xfrm>
            <a:off x="6902465" y="3059110"/>
            <a:ext cx="661481" cy="33855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1600" dirty="0" smtClean="0">
                <a:solidFill>
                  <a:schemeClr val="bg2"/>
                </a:solidFill>
                <a:ea typeface="黑体" pitchFamily="49" charset="-122"/>
              </a:rPr>
              <a:t>文本</a:t>
            </a:r>
            <a:endParaRPr lang="zh-CN" altLang="en-US" sz="1600" dirty="0">
              <a:solidFill>
                <a:schemeClr val="bg2"/>
              </a:solidFill>
              <a:ea typeface="黑体" pitchFamily="49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000"/>
                            </p:stCondLst>
                            <p:childTnLst>
                              <p:par>
                                <p:cTn id="47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0"/>
                            </p:stCondLst>
                            <p:childTnLst>
                              <p:par>
                                <p:cTn id="54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500"/>
                            </p:stCondLst>
                            <p:childTnLst>
                              <p:par>
                                <p:cTn id="61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000"/>
                            </p:stCondLst>
                            <p:childTnLst>
                              <p:par>
                                <p:cTn id="68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6500"/>
                            </p:stCondLst>
                            <p:childTnLst>
                              <p:par>
                                <p:cTn id="7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7000"/>
                            </p:stCondLst>
                            <p:childTnLst>
                              <p:par>
                                <p:cTn id="80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7500"/>
                            </p:stCondLst>
                            <p:childTnLst>
                              <p:par>
                                <p:cTn id="8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8000"/>
                            </p:stCondLst>
                            <p:childTnLst>
                              <p:par>
                                <p:cTn id="9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7" grpId="0" animBg="1"/>
      <p:bldP spid="78" grpId="0" animBg="1"/>
      <p:bldP spid="79" grpId="0"/>
      <p:bldP spid="80" grpId="0"/>
      <p:bldP spid="81" grpId="0"/>
      <p:bldP spid="82" grpId="0"/>
      <p:bldP spid="83" grpId="0"/>
      <p:bldP spid="84" grpId="0"/>
      <p:bldP spid="85" grpId="0"/>
      <p:bldP spid="86" grpId="0"/>
      <p:bldP spid="8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 descr="D:/System Desktop/Pic/`PPT模板/2011.02.06时尚ppt昵图/地图.png地图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00113" y="901700"/>
            <a:ext cx="6623050" cy="549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</p:pic>
      <p:grpSp>
        <p:nvGrpSpPr>
          <p:cNvPr id="49" name="组合 48"/>
          <p:cNvGrpSpPr/>
          <p:nvPr/>
        </p:nvGrpSpPr>
        <p:grpSpPr>
          <a:xfrm>
            <a:off x="2124075" y="1714500"/>
            <a:ext cx="5157788" cy="4629150"/>
            <a:chOff x="2124075" y="1649413"/>
            <a:chExt cx="5157788" cy="4629150"/>
          </a:xfrm>
        </p:grpSpPr>
        <p:sp>
          <p:nvSpPr>
            <p:cNvPr id="16387" name="Text Box 3"/>
            <p:cNvSpPr txBox="1">
              <a:spLocks noChangeArrowheads="1"/>
            </p:cNvSpPr>
            <p:nvPr/>
          </p:nvSpPr>
          <p:spPr bwMode="auto">
            <a:xfrm>
              <a:off x="2124075" y="2563813"/>
              <a:ext cx="411163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新疆</a:t>
              </a:r>
            </a:p>
          </p:txBody>
        </p:sp>
        <p:sp>
          <p:nvSpPr>
            <p:cNvPr id="16388" name="Text Box 4"/>
            <p:cNvSpPr txBox="1">
              <a:spLocks noChangeArrowheads="1"/>
            </p:cNvSpPr>
            <p:nvPr/>
          </p:nvSpPr>
          <p:spPr bwMode="auto">
            <a:xfrm>
              <a:off x="2365375" y="4135438"/>
              <a:ext cx="411163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西藏</a:t>
              </a:r>
            </a:p>
          </p:txBody>
        </p:sp>
        <p:sp>
          <p:nvSpPr>
            <p:cNvPr id="16389" name="Text Box 5"/>
            <p:cNvSpPr txBox="1">
              <a:spLocks noChangeArrowheads="1"/>
            </p:cNvSpPr>
            <p:nvPr/>
          </p:nvSpPr>
          <p:spPr bwMode="auto">
            <a:xfrm>
              <a:off x="3262313" y="3497263"/>
              <a:ext cx="412750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青海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390" name="Text Box 6"/>
            <p:cNvSpPr txBox="1">
              <a:spLocks noChangeArrowheads="1"/>
            </p:cNvSpPr>
            <p:nvPr/>
          </p:nvSpPr>
          <p:spPr bwMode="auto">
            <a:xfrm>
              <a:off x="3419475" y="2852738"/>
              <a:ext cx="411163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甘肃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391" name="Text Box 7"/>
            <p:cNvSpPr txBox="1">
              <a:spLocks noChangeArrowheads="1"/>
            </p:cNvSpPr>
            <p:nvPr/>
          </p:nvSpPr>
          <p:spPr bwMode="auto">
            <a:xfrm>
              <a:off x="3987800" y="4291013"/>
              <a:ext cx="411163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四川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392" name="Text Box 8"/>
            <p:cNvSpPr txBox="1">
              <a:spLocks noChangeArrowheads="1"/>
            </p:cNvSpPr>
            <p:nvPr/>
          </p:nvSpPr>
          <p:spPr bwMode="auto">
            <a:xfrm>
              <a:off x="3789363" y="5275263"/>
              <a:ext cx="411162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云南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393" name="Text Box 9"/>
            <p:cNvSpPr txBox="1">
              <a:spLocks noChangeArrowheads="1"/>
            </p:cNvSpPr>
            <p:nvPr/>
          </p:nvSpPr>
          <p:spPr bwMode="auto">
            <a:xfrm>
              <a:off x="4548188" y="4919663"/>
              <a:ext cx="411162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贵州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394" name="Text Box 10"/>
            <p:cNvSpPr txBox="1">
              <a:spLocks noChangeArrowheads="1"/>
            </p:cNvSpPr>
            <p:nvPr/>
          </p:nvSpPr>
          <p:spPr bwMode="auto">
            <a:xfrm>
              <a:off x="4806950" y="5395913"/>
              <a:ext cx="411163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广西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395" name="Text Box 11"/>
            <p:cNvSpPr txBox="1">
              <a:spLocks noChangeArrowheads="1"/>
            </p:cNvSpPr>
            <p:nvPr/>
          </p:nvSpPr>
          <p:spPr bwMode="auto">
            <a:xfrm>
              <a:off x="5505450" y="5360988"/>
              <a:ext cx="411163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广东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396" name="Text Box 12"/>
            <p:cNvSpPr txBox="1">
              <a:spLocks noChangeArrowheads="1"/>
            </p:cNvSpPr>
            <p:nvPr/>
          </p:nvSpPr>
          <p:spPr bwMode="auto">
            <a:xfrm>
              <a:off x="5643563" y="5653088"/>
              <a:ext cx="411162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香港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397" name="Text Box 13"/>
            <p:cNvSpPr txBox="1">
              <a:spLocks noChangeArrowheads="1"/>
            </p:cNvSpPr>
            <p:nvPr/>
          </p:nvSpPr>
          <p:spPr bwMode="auto">
            <a:xfrm>
              <a:off x="5219700" y="5748338"/>
              <a:ext cx="411163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澳门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398" name="Text Box 14"/>
            <p:cNvSpPr txBox="1">
              <a:spLocks noChangeArrowheads="1"/>
            </p:cNvSpPr>
            <p:nvPr/>
          </p:nvSpPr>
          <p:spPr bwMode="auto">
            <a:xfrm>
              <a:off x="4978400" y="6049963"/>
              <a:ext cx="411163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海南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399" name="Text Box 15"/>
            <p:cNvSpPr txBox="1">
              <a:spLocks noChangeArrowheads="1"/>
            </p:cNvSpPr>
            <p:nvPr/>
          </p:nvSpPr>
          <p:spPr bwMode="auto">
            <a:xfrm>
              <a:off x="6505575" y="5214938"/>
              <a:ext cx="411163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台湾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400" name="Text Box 16"/>
            <p:cNvSpPr txBox="1">
              <a:spLocks noChangeArrowheads="1"/>
            </p:cNvSpPr>
            <p:nvPr/>
          </p:nvSpPr>
          <p:spPr bwMode="auto">
            <a:xfrm>
              <a:off x="6073775" y="4913313"/>
              <a:ext cx="411163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福建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401" name="Text Box 17"/>
            <p:cNvSpPr txBox="1">
              <a:spLocks noChangeArrowheads="1"/>
            </p:cNvSpPr>
            <p:nvPr/>
          </p:nvSpPr>
          <p:spPr bwMode="auto">
            <a:xfrm>
              <a:off x="5772150" y="4643438"/>
              <a:ext cx="411163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江西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402" name="Text Box 18"/>
            <p:cNvSpPr txBox="1">
              <a:spLocks noChangeArrowheads="1"/>
            </p:cNvSpPr>
            <p:nvPr/>
          </p:nvSpPr>
          <p:spPr bwMode="auto">
            <a:xfrm>
              <a:off x="5184775" y="4729163"/>
              <a:ext cx="411163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湖南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403" name="Text Box 19"/>
            <p:cNvSpPr txBox="1">
              <a:spLocks noChangeArrowheads="1"/>
            </p:cNvSpPr>
            <p:nvPr/>
          </p:nvSpPr>
          <p:spPr bwMode="auto">
            <a:xfrm>
              <a:off x="4598988" y="4411663"/>
              <a:ext cx="411162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重庆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404" name="Text Box 20"/>
            <p:cNvSpPr txBox="1">
              <a:spLocks noChangeArrowheads="1"/>
            </p:cNvSpPr>
            <p:nvPr/>
          </p:nvSpPr>
          <p:spPr bwMode="auto">
            <a:xfrm>
              <a:off x="5254625" y="4195763"/>
              <a:ext cx="411163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湖北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405" name="Text Box 21"/>
            <p:cNvSpPr txBox="1">
              <a:spLocks noChangeArrowheads="1"/>
            </p:cNvSpPr>
            <p:nvPr/>
          </p:nvSpPr>
          <p:spPr bwMode="auto">
            <a:xfrm>
              <a:off x="5875338" y="4135438"/>
              <a:ext cx="412750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安微</a:t>
              </a:r>
            </a:p>
          </p:txBody>
        </p:sp>
        <p:sp>
          <p:nvSpPr>
            <p:cNvPr id="16406" name="Text Box 22"/>
            <p:cNvSpPr txBox="1">
              <a:spLocks noChangeArrowheads="1"/>
            </p:cNvSpPr>
            <p:nvPr/>
          </p:nvSpPr>
          <p:spPr bwMode="auto">
            <a:xfrm>
              <a:off x="5332413" y="3789363"/>
              <a:ext cx="411162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河南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407" name="Text Box 23"/>
            <p:cNvSpPr txBox="1">
              <a:spLocks noChangeArrowheads="1"/>
            </p:cNvSpPr>
            <p:nvPr/>
          </p:nvSpPr>
          <p:spPr bwMode="auto">
            <a:xfrm>
              <a:off x="6221413" y="3970338"/>
              <a:ext cx="411162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江苏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408" name="Text Box 24"/>
            <p:cNvSpPr txBox="1">
              <a:spLocks noChangeArrowheads="1"/>
            </p:cNvSpPr>
            <p:nvPr/>
          </p:nvSpPr>
          <p:spPr bwMode="auto">
            <a:xfrm>
              <a:off x="6618288" y="4065588"/>
              <a:ext cx="411162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上海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409" name="Text Box 25"/>
            <p:cNvSpPr txBox="1">
              <a:spLocks noChangeArrowheads="1"/>
            </p:cNvSpPr>
            <p:nvPr/>
          </p:nvSpPr>
          <p:spPr bwMode="auto">
            <a:xfrm>
              <a:off x="4435475" y="3262313"/>
              <a:ext cx="411163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宁夏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410" name="Text Box 26"/>
            <p:cNvSpPr txBox="1">
              <a:spLocks noChangeArrowheads="1"/>
            </p:cNvSpPr>
            <p:nvPr/>
          </p:nvSpPr>
          <p:spPr bwMode="auto">
            <a:xfrm>
              <a:off x="4772025" y="3779838"/>
              <a:ext cx="411163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陕西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411" name="Text Box 27"/>
            <p:cNvSpPr txBox="1">
              <a:spLocks noChangeArrowheads="1"/>
            </p:cNvSpPr>
            <p:nvPr/>
          </p:nvSpPr>
          <p:spPr bwMode="auto">
            <a:xfrm>
              <a:off x="4932363" y="2636838"/>
              <a:ext cx="525462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内蒙古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412" name="Text Box 28"/>
            <p:cNvSpPr txBox="1">
              <a:spLocks noChangeArrowheads="1"/>
            </p:cNvSpPr>
            <p:nvPr/>
          </p:nvSpPr>
          <p:spPr bwMode="auto">
            <a:xfrm>
              <a:off x="5148263" y="3284538"/>
              <a:ext cx="411162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山西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413" name="Text Box 29"/>
            <p:cNvSpPr txBox="1">
              <a:spLocks noChangeArrowheads="1"/>
            </p:cNvSpPr>
            <p:nvPr/>
          </p:nvSpPr>
          <p:spPr bwMode="auto">
            <a:xfrm>
              <a:off x="5881688" y="3370263"/>
              <a:ext cx="411162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山东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414" name="Text Box 30"/>
            <p:cNvSpPr txBox="1">
              <a:spLocks noChangeArrowheads="1"/>
            </p:cNvSpPr>
            <p:nvPr/>
          </p:nvSpPr>
          <p:spPr bwMode="auto">
            <a:xfrm>
              <a:off x="5570538" y="3078163"/>
              <a:ext cx="411162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河北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415" name="Text Box 31"/>
            <p:cNvSpPr txBox="1">
              <a:spLocks noChangeArrowheads="1"/>
            </p:cNvSpPr>
            <p:nvPr/>
          </p:nvSpPr>
          <p:spPr bwMode="auto">
            <a:xfrm>
              <a:off x="5613400" y="2725738"/>
              <a:ext cx="411163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北京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416" name="Text Box 32"/>
            <p:cNvSpPr txBox="1">
              <a:spLocks noChangeArrowheads="1"/>
            </p:cNvSpPr>
            <p:nvPr/>
          </p:nvSpPr>
          <p:spPr bwMode="auto">
            <a:xfrm>
              <a:off x="5849938" y="2951163"/>
              <a:ext cx="412750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天津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417" name="Text Box 33"/>
            <p:cNvSpPr txBox="1">
              <a:spLocks noChangeArrowheads="1"/>
            </p:cNvSpPr>
            <p:nvPr/>
          </p:nvSpPr>
          <p:spPr bwMode="auto">
            <a:xfrm>
              <a:off x="6342063" y="2474913"/>
              <a:ext cx="411162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辽宁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418" name="Text Box 34"/>
            <p:cNvSpPr txBox="1">
              <a:spLocks noChangeArrowheads="1"/>
            </p:cNvSpPr>
            <p:nvPr/>
          </p:nvSpPr>
          <p:spPr bwMode="auto">
            <a:xfrm>
              <a:off x="6688138" y="2182813"/>
              <a:ext cx="411162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吉林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419" name="Text Box 35"/>
            <p:cNvSpPr txBox="1">
              <a:spLocks noChangeArrowheads="1"/>
            </p:cNvSpPr>
            <p:nvPr/>
          </p:nvSpPr>
          <p:spPr bwMode="auto">
            <a:xfrm>
              <a:off x="6756400" y="1649413"/>
              <a:ext cx="525463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黑龙江</a:t>
              </a:r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16420" name="Text Box 36"/>
            <p:cNvSpPr txBox="1">
              <a:spLocks noChangeArrowheads="1"/>
            </p:cNvSpPr>
            <p:nvPr/>
          </p:nvSpPr>
          <p:spPr bwMode="auto">
            <a:xfrm>
              <a:off x="6281738" y="4471988"/>
              <a:ext cx="411162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l"/>
              <a:r>
                <a:rPr lang="zh-CN" altLang="en-US" sz="900">
                  <a:ea typeface="宋体" pitchFamily="2" charset="-122"/>
                </a:rPr>
                <a:t>浙江</a:t>
              </a:r>
              <a:endParaRPr lang="zh-CN" altLang="en-US">
                <a:ea typeface="宋体" pitchFamily="2" charset="-122"/>
              </a:endParaRPr>
            </a:p>
          </p:txBody>
        </p:sp>
      </p:grpSp>
      <p:pic>
        <p:nvPicPr>
          <p:cNvPr id="41" name="图片 40" descr="未标题-1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086600" y="3646488"/>
            <a:ext cx="1497412" cy="2209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63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3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23" presetClass="entr" presetSubtype="3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AutoShape 58"/>
          <p:cNvSpPr>
            <a:spLocks noChangeArrowheads="1"/>
          </p:cNvSpPr>
          <p:nvPr/>
        </p:nvSpPr>
        <p:spPr bwMode="auto">
          <a:xfrm>
            <a:off x="381000" y="2438401"/>
            <a:ext cx="8151813" cy="1800225"/>
          </a:xfrm>
          <a:prstGeom prst="rightArrow">
            <a:avLst>
              <a:gd name="adj1" fmla="val 46843"/>
              <a:gd name="adj2" fmla="val 58283"/>
            </a:avLst>
          </a:prstGeom>
          <a:gradFill rotWithShape="1">
            <a:gsLst>
              <a:gs pos="0">
                <a:srgbClr val="FF2F00"/>
              </a:gs>
              <a:gs pos="100000">
                <a:srgbClr val="D12700"/>
              </a:gs>
            </a:gsLst>
            <a:lin ang="5400000" scaled="1"/>
          </a:gradFill>
          <a:ln w="19050" cmpd="sng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31" name="WordArt 75"/>
          <p:cNvSpPr>
            <a:spLocks noChangeArrowheads="1" noChangeShapeType="1" noTextEdit="1"/>
          </p:cNvSpPr>
          <p:nvPr/>
        </p:nvSpPr>
        <p:spPr bwMode="auto">
          <a:xfrm>
            <a:off x="1597025" y="3246438"/>
            <a:ext cx="792163" cy="219075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pc="-45" dirty="0" smtClean="0">
                <a:ln w="9525">
                  <a:noFill/>
                  <a:round/>
                  <a:headEnd/>
                  <a:tailEnd/>
                </a:ln>
                <a:solidFill>
                  <a:schemeClr val="bg1"/>
                </a:solidFill>
                <a:latin typeface="Arial Black"/>
              </a:rPr>
              <a:t>2008</a:t>
            </a:r>
            <a:endParaRPr lang="zh-CN" altLang="en-US" spc="-45" dirty="0">
              <a:ln w="9525">
                <a:noFill/>
                <a:round/>
                <a:headEnd/>
                <a:tailEnd/>
              </a:ln>
              <a:solidFill>
                <a:schemeClr val="bg1"/>
              </a:solidFill>
              <a:latin typeface="Arial Black"/>
            </a:endParaRPr>
          </a:p>
        </p:txBody>
      </p:sp>
      <p:sp>
        <p:nvSpPr>
          <p:cNvPr id="32" name="WordArt 76"/>
          <p:cNvSpPr>
            <a:spLocks noChangeArrowheads="1" noChangeShapeType="1" noTextEdit="1"/>
          </p:cNvSpPr>
          <p:nvPr/>
        </p:nvSpPr>
        <p:spPr bwMode="auto">
          <a:xfrm>
            <a:off x="2749550" y="3246438"/>
            <a:ext cx="792163" cy="219075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pc="-45" dirty="0" smtClean="0">
                <a:ln w="9525">
                  <a:noFill/>
                  <a:round/>
                  <a:headEnd/>
                  <a:tailEnd/>
                </a:ln>
                <a:solidFill>
                  <a:schemeClr val="bg1"/>
                </a:solidFill>
                <a:latin typeface="Arial Black"/>
              </a:rPr>
              <a:t>2009</a:t>
            </a:r>
            <a:endParaRPr lang="zh-CN" altLang="en-US" spc="-45" dirty="0">
              <a:ln w="9525">
                <a:noFill/>
                <a:round/>
                <a:headEnd/>
                <a:tailEnd/>
              </a:ln>
              <a:solidFill>
                <a:schemeClr val="bg1"/>
              </a:solidFill>
              <a:latin typeface="Arial Black"/>
            </a:endParaRPr>
          </a:p>
        </p:txBody>
      </p:sp>
      <p:sp>
        <p:nvSpPr>
          <p:cNvPr id="33" name="WordArt 77"/>
          <p:cNvSpPr>
            <a:spLocks noChangeArrowheads="1" noChangeShapeType="1" noTextEdit="1"/>
          </p:cNvSpPr>
          <p:nvPr/>
        </p:nvSpPr>
        <p:spPr bwMode="auto">
          <a:xfrm>
            <a:off x="3902075" y="3246438"/>
            <a:ext cx="792163" cy="219075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pc="-45" dirty="0" smtClean="0">
                <a:ln w="9525">
                  <a:noFill/>
                  <a:round/>
                  <a:headEnd/>
                  <a:tailEnd/>
                </a:ln>
                <a:solidFill>
                  <a:schemeClr val="bg1"/>
                </a:solidFill>
                <a:latin typeface="Arial Black"/>
              </a:rPr>
              <a:t>2010</a:t>
            </a:r>
            <a:endParaRPr lang="zh-CN" altLang="en-US" spc="-45" dirty="0">
              <a:ln w="9525">
                <a:noFill/>
                <a:round/>
                <a:headEnd/>
                <a:tailEnd/>
              </a:ln>
              <a:solidFill>
                <a:schemeClr val="bg1"/>
              </a:solidFill>
              <a:latin typeface="Arial Black"/>
            </a:endParaRPr>
          </a:p>
        </p:txBody>
      </p:sp>
      <p:sp>
        <p:nvSpPr>
          <p:cNvPr id="34" name="WordArt 78"/>
          <p:cNvSpPr>
            <a:spLocks noChangeArrowheads="1" noChangeShapeType="1" noTextEdit="1"/>
          </p:cNvSpPr>
          <p:nvPr/>
        </p:nvSpPr>
        <p:spPr bwMode="auto">
          <a:xfrm>
            <a:off x="5053013" y="3246438"/>
            <a:ext cx="792162" cy="219075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pc="-45" dirty="0">
                <a:ln w="9525">
                  <a:noFill/>
                  <a:round/>
                  <a:headEnd/>
                  <a:tailEnd/>
                </a:ln>
                <a:solidFill>
                  <a:schemeClr val="bg1"/>
                </a:solidFill>
                <a:latin typeface="Arial Black"/>
              </a:rPr>
              <a:t>2011</a:t>
            </a:r>
            <a:endParaRPr lang="zh-CN" altLang="en-US" spc="-45" dirty="0">
              <a:ln w="9525">
                <a:noFill/>
                <a:round/>
                <a:headEnd/>
                <a:tailEnd/>
              </a:ln>
              <a:solidFill>
                <a:schemeClr val="bg1"/>
              </a:solidFill>
              <a:latin typeface="Arial Black"/>
            </a:endParaRPr>
          </a:p>
        </p:txBody>
      </p:sp>
      <p:sp>
        <p:nvSpPr>
          <p:cNvPr id="35" name="WordArt 79"/>
          <p:cNvSpPr>
            <a:spLocks noChangeArrowheads="1" noChangeShapeType="1" noTextEdit="1"/>
          </p:cNvSpPr>
          <p:nvPr/>
        </p:nvSpPr>
        <p:spPr bwMode="auto">
          <a:xfrm>
            <a:off x="6205538" y="3246438"/>
            <a:ext cx="792162" cy="219075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pc="-45" dirty="0" smtClean="0">
                <a:ln w="9525">
                  <a:noFill/>
                  <a:round/>
                  <a:headEnd/>
                  <a:tailEnd/>
                </a:ln>
                <a:solidFill>
                  <a:schemeClr val="bg1"/>
                </a:solidFill>
                <a:latin typeface="Arial Black"/>
              </a:rPr>
              <a:t>2012</a:t>
            </a:r>
            <a:endParaRPr lang="zh-CN" altLang="en-US" spc="-45" dirty="0">
              <a:ln w="9525">
                <a:noFill/>
                <a:round/>
                <a:headEnd/>
                <a:tailEnd/>
              </a:ln>
              <a:solidFill>
                <a:schemeClr val="bg1"/>
              </a:solidFill>
              <a:latin typeface="Arial Black"/>
            </a:endParaRPr>
          </a:p>
        </p:txBody>
      </p:sp>
      <p:sp>
        <p:nvSpPr>
          <p:cNvPr id="36" name="Line 80"/>
          <p:cNvSpPr>
            <a:spLocks noChangeShapeType="1"/>
          </p:cNvSpPr>
          <p:nvPr/>
        </p:nvSpPr>
        <p:spPr bwMode="auto">
          <a:xfrm flipV="1">
            <a:off x="1993900" y="1665288"/>
            <a:ext cx="0" cy="1368425"/>
          </a:xfrm>
          <a:prstGeom prst="line">
            <a:avLst/>
          </a:prstGeom>
          <a:noFill/>
          <a:ln w="19050" cap="rnd" cmpd="sng">
            <a:solidFill>
              <a:srgbClr val="333333"/>
            </a:solidFill>
            <a:prstDash val="sysDot"/>
            <a:round/>
            <a:headEnd type="oval" w="med" len="med"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37" name="Line 81"/>
          <p:cNvSpPr>
            <a:spLocks noChangeShapeType="1"/>
          </p:cNvSpPr>
          <p:nvPr/>
        </p:nvSpPr>
        <p:spPr bwMode="auto">
          <a:xfrm flipV="1">
            <a:off x="4297363" y="1665288"/>
            <a:ext cx="0" cy="1368425"/>
          </a:xfrm>
          <a:prstGeom prst="line">
            <a:avLst/>
          </a:prstGeom>
          <a:noFill/>
          <a:ln w="19050" cap="rnd" cmpd="sng">
            <a:solidFill>
              <a:srgbClr val="333333"/>
            </a:solidFill>
            <a:prstDash val="sysDot"/>
            <a:round/>
            <a:headEnd type="oval" w="med" len="med"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38" name="Line 82"/>
          <p:cNvSpPr>
            <a:spLocks noChangeShapeType="1"/>
          </p:cNvSpPr>
          <p:nvPr/>
        </p:nvSpPr>
        <p:spPr bwMode="auto">
          <a:xfrm flipV="1">
            <a:off x="6602413" y="1665288"/>
            <a:ext cx="0" cy="1368425"/>
          </a:xfrm>
          <a:prstGeom prst="line">
            <a:avLst/>
          </a:prstGeom>
          <a:noFill/>
          <a:ln w="19050" cap="rnd" cmpd="sng">
            <a:solidFill>
              <a:srgbClr val="333333"/>
            </a:solidFill>
            <a:prstDash val="sysDot"/>
            <a:round/>
            <a:headEnd type="oval" w="med" len="med"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39" name="Line 83"/>
          <p:cNvSpPr>
            <a:spLocks noChangeShapeType="1"/>
          </p:cNvSpPr>
          <p:nvPr/>
        </p:nvSpPr>
        <p:spPr bwMode="auto">
          <a:xfrm flipV="1">
            <a:off x="5449888" y="3681413"/>
            <a:ext cx="0" cy="1260475"/>
          </a:xfrm>
          <a:prstGeom prst="line">
            <a:avLst/>
          </a:prstGeom>
          <a:noFill/>
          <a:ln w="19050" cap="rnd" cmpd="sng">
            <a:solidFill>
              <a:srgbClr val="333333"/>
            </a:solidFill>
            <a:prstDash val="sysDot"/>
            <a:round/>
            <a:headEnd/>
            <a:tailEnd type="oval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40" name="AutoShape 84"/>
          <p:cNvSpPr>
            <a:spLocks noChangeArrowheads="1"/>
          </p:cNvSpPr>
          <p:nvPr/>
        </p:nvSpPr>
        <p:spPr bwMode="auto">
          <a:xfrm>
            <a:off x="517525" y="3933826"/>
            <a:ext cx="2376488" cy="1852628"/>
          </a:xfrm>
          <a:prstGeom prst="roundRect">
            <a:avLst>
              <a:gd name="adj" fmla="val 5528"/>
            </a:avLst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ko-KR" altLang="en-US" b="0"/>
          </a:p>
        </p:txBody>
      </p:sp>
      <p:sp>
        <p:nvSpPr>
          <p:cNvPr id="41" name="WordArt 90"/>
          <p:cNvSpPr>
            <a:spLocks noChangeArrowheads="1" noChangeShapeType="1" noTextEdit="1"/>
          </p:cNvSpPr>
          <p:nvPr/>
        </p:nvSpPr>
        <p:spPr bwMode="auto">
          <a:xfrm>
            <a:off x="696913" y="4129088"/>
            <a:ext cx="504825" cy="144463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pc="-45" dirty="0" smtClean="0">
                <a:ln w="9525">
                  <a:noFill/>
                  <a:round/>
                  <a:headEnd/>
                  <a:tailEnd/>
                </a:ln>
                <a:solidFill>
                  <a:srgbClr val="333333"/>
                </a:solidFill>
                <a:latin typeface="Arial Black"/>
              </a:rPr>
              <a:t>2008</a:t>
            </a:r>
            <a:endParaRPr lang="zh-CN" altLang="en-US" spc="-45" dirty="0">
              <a:ln w="9525">
                <a:noFill/>
                <a:round/>
                <a:headEnd/>
                <a:tailEnd/>
              </a:ln>
              <a:solidFill>
                <a:srgbClr val="333333"/>
              </a:solidFill>
              <a:latin typeface="Arial Black"/>
            </a:endParaRPr>
          </a:p>
        </p:txBody>
      </p:sp>
      <p:sp>
        <p:nvSpPr>
          <p:cNvPr id="42" name="WordArt 91"/>
          <p:cNvSpPr>
            <a:spLocks noChangeArrowheads="1" noChangeShapeType="1" noTextEdit="1"/>
          </p:cNvSpPr>
          <p:nvPr/>
        </p:nvSpPr>
        <p:spPr bwMode="auto">
          <a:xfrm>
            <a:off x="696913" y="4424363"/>
            <a:ext cx="504825" cy="144463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pc="-45" dirty="0" smtClean="0">
                <a:ln w="9525">
                  <a:noFill/>
                  <a:round/>
                  <a:headEnd/>
                  <a:tailEnd/>
                </a:ln>
                <a:solidFill>
                  <a:srgbClr val="333333"/>
                </a:solidFill>
                <a:latin typeface="Arial Black"/>
              </a:rPr>
              <a:t>2009</a:t>
            </a:r>
            <a:endParaRPr lang="zh-CN" altLang="en-US" spc="-45" dirty="0">
              <a:ln w="9525">
                <a:noFill/>
                <a:round/>
                <a:headEnd/>
                <a:tailEnd/>
              </a:ln>
              <a:solidFill>
                <a:srgbClr val="333333"/>
              </a:solidFill>
              <a:latin typeface="Arial Black"/>
            </a:endParaRPr>
          </a:p>
        </p:txBody>
      </p:sp>
      <p:sp>
        <p:nvSpPr>
          <p:cNvPr id="43" name="WordArt 92"/>
          <p:cNvSpPr>
            <a:spLocks noChangeArrowheads="1" noChangeShapeType="1" noTextEdit="1"/>
          </p:cNvSpPr>
          <p:nvPr/>
        </p:nvSpPr>
        <p:spPr bwMode="auto">
          <a:xfrm>
            <a:off x="696913" y="4719638"/>
            <a:ext cx="504825" cy="144463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pc="-45" dirty="0" smtClean="0">
                <a:ln w="9525">
                  <a:noFill/>
                  <a:round/>
                  <a:headEnd/>
                  <a:tailEnd/>
                </a:ln>
                <a:solidFill>
                  <a:srgbClr val="333333"/>
                </a:solidFill>
                <a:latin typeface="Arial Black"/>
              </a:rPr>
              <a:t>2010</a:t>
            </a:r>
            <a:endParaRPr lang="zh-CN" altLang="en-US" spc="-45" dirty="0">
              <a:ln w="9525">
                <a:noFill/>
                <a:round/>
                <a:headEnd/>
                <a:tailEnd/>
              </a:ln>
              <a:solidFill>
                <a:srgbClr val="333333"/>
              </a:solidFill>
              <a:latin typeface="Arial Black"/>
            </a:endParaRPr>
          </a:p>
        </p:txBody>
      </p:sp>
      <p:sp>
        <p:nvSpPr>
          <p:cNvPr id="44" name="WordArt 93"/>
          <p:cNvSpPr>
            <a:spLocks noChangeArrowheads="1" noChangeShapeType="1" noTextEdit="1"/>
          </p:cNvSpPr>
          <p:nvPr/>
        </p:nvSpPr>
        <p:spPr bwMode="auto">
          <a:xfrm>
            <a:off x="696913" y="5014913"/>
            <a:ext cx="504825" cy="144463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pc="-45" dirty="0">
                <a:ln w="9525">
                  <a:noFill/>
                  <a:round/>
                  <a:headEnd/>
                  <a:tailEnd/>
                </a:ln>
                <a:solidFill>
                  <a:srgbClr val="333333"/>
                </a:solidFill>
                <a:latin typeface="Arial Black"/>
              </a:rPr>
              <a:t>2011</a:t>
            </a:r>
            <a:endParaRPr lang="zh-CN" altLang="en-US" spc="-45" dirty="0">
              <a:ln w="9525">
                <a:noFill/>
                <a:round/>
                <a:headEnd/>
                <a:tailEnd/>
              </a:ln>
              <a:solidFill>
                <a:srgbClr val="333333"/>
              </a:solidFill>
              <a:latin typeface="Arial Black"/>
            </a:endParaRPr>
          </a:p>
        </p:txBody>
      </p:sp>
      <p:sp>
        <p:nvSpPr>
          <p:cNvPr id="45" name="WordArt 94"/>
          <p:cNvSpPr>
            <a:spLocks noChangeArrowheads="1" noChangeShapeType="1" noTextEdit="1"/>
          </p:cNvSpPr>
          <p:nvPr/>
        </p:nvSpPr>
        <p:spPr bwMode="auto">
          <a:xfrm>
            <a:off x="696913" y="5310188"/>
            <a:ext cx="504825" cy="144463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pc="-45" dirty="0" smtClean="0">
                <a:ln w="9525">
                  <a:noFill/>
                  <a:round/>
                  <a:headEnd/>
                  <a:tailEnd/>
                </a:ln>
                <a:solidFill>
                  <a:srgbClr val="FF2F00"/>
                </a:solidFill>
                <a:latin typeface="Arial Black"/>
              </a:rPr>
              <a:t>2012</a:t>
            </a:r>
            <a:endParaRPr lang="zh-CN" altLang="en-US" spc="-45" dirty="0">
              <a:ln w="9525">
                <a:noFill/>
                <a:round/>
                <a:headEnd/>
                <a:tailEnd/>
              </a:ln>
              <a:solidFill>
                <a:srgbClr val="FF2F00"/>
              </a:solidFill>
              <a:latin typeface="Arial Black"/>
            </a:endParaRPr>
          </a:p>
        </p:txBody>
      </p:sp>
      <p:sp>
        <p:nvSpPr>
          <p:cNvPr id="46" name="Line 99"/>
          <p:cNvSpPr>
            <a:spLocks noChangeShapeType="1"/>
          </p:cNvSpPr>
          <p:nvPr/>
        </p:nvSpPr>
        <p:spPr bwMode="auto">
          <a:xfrm flipV="1">
            <a:off x="3144838" y="3681413"/>
            <a:ext cx="0" cy="1260475"/>
          </a:xfrm>
          <a:prstGeom prst="line">
            <a:avLst/>
          </a:prstGeom>
          <a:noFill/>
          <a:ln w="19050" cap="rnd" cmpd="sng">
            <a:solidFill>
              <a:srgbClr val="333333"/>
            </a:solidFill>
            <a:prstDash val="sysDot"/>
            <a:round/>
            <a:headEnd/>
            <a:tailEnd type="oval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47" name="Text Box 29"/>
          <p:cNvSpPr txBox="1">
            <a:spLocks noChangeArrowheads="1"/>
          </p:cNvSpPr>
          <p:nvPr/>
        </p:nvSpPr>
        <p:spPr bwMode="black">
          <a:xfrm>
            <a:off x="381000" y="3168648"/>
            <a:ext cx="1000100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b="0" dirty="0" smtClean="0">
                <a:solidFill>
                  <a:srgbClr val="000000"/>
                </a:solidFill>
                <a:latin typeface="Calibri" pitchFamily="34" charset="0"/>
              </a:rPr>
              <a:t>文本</a:t>
            </a:r>
            <a:endParaRPr lang="en-US" altLang="zh-CN" b="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48" name="Text Box 29"/>
          <p:cNvSpPr txBox="1">
            <a:spLocks noChangeArrowheads="1"/>
          </p:cNvSpPr>
          <p:nvPr/>
        </p:nvSpPr>
        <p:spPr bwMode="black">
          <a:xfrm>
            <a:off x="2075916" y="2020878"/>
            <a:ext cx="1996018" cy="6309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400" dirty="0" smtClean="0">
                <a:solidFill>
                  <a:srgbClr val="000000"/>
                </a:solidFill>
                <a:latin typeface="Calibri" pitchFamily="34" charset="0"/>
              </a:rPr>
              <a:t>点击输入文本</a:t>
            </a:r>
            <a:endParaRPr lang="en-US" altLang="zh-CN" sz="1400" dirty="0" smtClean="0">
              <a:solidFill>
                <a:srgbClr val="000000"/>
              </a:solidFill>
              <a:latin typeface="Calibri" pitchFamily="34" charset="0"/>
            </a:endParaRPr>
          </a:p>
          <a:p>
            <a:pPr>
              <a:spcBef>
                <a:spcPct val="50000"/>
              </a:spcBef>
            </a:pPr>
            <a:r>
              <a:rPr lang="zh-CN" altLang="en-US" sz="1400" dirty="0" smtClean="0">
                <a:solidFill>
                  <a:srgbClr val="000000"/>
                </a:solidFill>
                <a:latin typeface="Calibri" pitchFamily="34" charset="0"/>
              </a:rPr>
              <a:t>点击输入文本</a:t>
            </a:r>
            <a:endParaRPr lang="en-US" altLang="zh-CN" sz="1400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49" name="Text Box 29"/>
          <p:cNvSpPr txBox="1">
            <a:spLocks noChangeArrowheads="1"/>
          </p:cNvSpPr>
          <p:nvPr/>
        </p:nvSpPr>
        <p:spPr bwMode="black">
          <a:xfrm>
            <a:off x="2080677" y="1627715"/>
            <a:ext cx="1045104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2000" b="1" dirty="0" smtClean="0">
                <a:solidFill>
                  <a:srgbClr val="000000"/>
                </a:solidFill>
                <a:latin typeface="Calibri" pitchFamily="34" charset="0"/>
              </a:rPr>
              <a:t>文本</a:t>
            </a:r>
            <a:endParaRPr lang="en-US" altLang="zh-CN" sz="2000" b="1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0" name="Text Box 29"/>
          <p:cNvSpPr txBox="1">
            <a:spLocks noChangeArrowheads="1"/>
          </p:cNvSpPr>
          <p:nvPr/>
        </p:nvSpPr>
        <p:spPr bwMode="black">
          <a:xfrm>
            <a:off x="4429650" y="2020878"/>
            <a:ext cx="1996018" cy="6309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400" dirty="0" smtClean="0">
                <a:solidFill>
                  <a:srgbClr val="000000"/>
                </a:solidFill>
                <a:latin typeface="Calibri" pitchFamily="34" charset="0"/>
              </a:rPr>
              <a:t>点击输入文本</a:t>
            </a:r>
            <a:endParaRPr lang="en-US" altLang="zh-CN" sz="1400" dirty="0" smtClean="0">
              <a:solidFill>
                <a:srgbClr val="000000"/>
              </a:solidFill>
              <a:latin typeface="Calibri" pitchFamily="34" charset="0"/>
            </a:endParaRPr>
          </a:p>
          <a:p>
            <a:pPr>
              <a:spcBef>
                <a:spcPct val="50000"/>
              </a:spcBef>
            </a:pPr>
            <a:r>
              <a:rPr lang="zh-CN" altLang="en-US" sz="1400" dirty="0" smtClean="0">
                <a:solidFill>
                  <a:srgbClr val="000000"/>
                </a:solidFill>
                <a:latin typeface="Calibri" pitchFamily="34" charset="0"/>
              </a:rPr>
              <a:t>点击输入文本</a:t>
            </a:r>
            <a:endParaRPr lang="en-US" altLang="zh-CN" sz="1400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1" name="Text Box 29"/>
          <p:cNvSpPr txBox="1">
            <a:spLocks noChangeArrowheads="1"/>
          </p:cNvSpPr>
          <p:nvPr/>
        </p:nvSpPr>
        <p:spPr bwMode="black">
          <a:xfrm>
            <a:off x="4434411" y="1627715"/>
            <a:ext cx="1045104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2000" b="1" dirty="0" smtClean="0">
                <a:solidFill>
                  <a:srgbClr val="000000"/>
                </a:solidFill>
                <a:latin typeface="Calibri" pitchFamily="34" charset="0"/>
              </a:rPr>
              <a:t>文本</a:t>
            </a:r>
            <a:endParaRPr lang="en-US" altLang="zh-CN" sz="2000" b="1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2" name="Text Box 29"/>
          <p:cNvSpPr txBox="1">
            <a:spLocks noChangeArrowheads="1"/>
          </p:cNvSpPr>
          <p:nvPr/>
        </p:nvSpPr>
        <p:spPr bwMode="black">
          <a:xfrm>
            <a:off x="3235849" y="4298411"/>
            <a:ext cx="1996018" cy="6309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400" dirty="0" smtClean="0">
                <a:solidFill>
                  <a:srgbClr val="000000"/>
                </a:solidFill>
                <a:latin typeface="Calibri" pitchFamily="34" charset="0"/>
              </a:rPr>
              <a:t>点击输入文本</a:t>
            </a:r>
            <a:endParaRPr lang="en-US" altLang="zh-CN" sz="1400" dirty="0" smtClean="0">
              <a:solidFill>
                <a:srgbClr val="000000"/>
              </a:solidFill>
              <a:latin typeface="Calibri" pitchFamily="34" charset="0"/>
            </a:endParaRPr>
          </a:p>
          <a:p>
            <a:pPr>
              <a:spcBef>
                <a:spcPct val="50000"/>
              </a:spcBef>
            </a:pPr>
            <a:r>
              <a:rPr lang="zh-CN" altLang="en-US" sz="1400" dirty="0" smtClean="0">
                <a:solidFill>
                  <a:srgbClr val="000000"/>
                </a:solidFill>
                <a:latin typeface="Calibri" pitchFamily="34" charset="0"/>
              </a:rPr>
              <a:t>点击输入文本</a:t>
            </a:r>
            <a:endParaRPr lang="en-US" altLang="zh-CN" sz="1400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3" name="Text Box 29"/>
          <p:cNvSpPr txBox="1">
            <a:spLocks noChangeArrowheads="1"/>
          </p:cNvSpPr>
          <p:nvPr/>
        </p:nvSpPr>
        <p:spPr bwMode="black">
          <a:xfrm>
            <a:off x="3240610" y="3905248"/>
            <a:ext cx="1045104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2000" b="1" dirty="0" smtClean="0">
                <a:solidFill>
                  <a:srgbClr val="000000"/>
                </a:solidFill>
                <a:latin typeface="Calibri" pitchFamily="34" charset="0"/>
              </a:rPr>
              <a:t>文本</a:t>
            </a:r>
            <a:endParaRPr lang="en-US" altLang="zh-CN" sz="2000" b="1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4" name="Text Box 29"/>
          <p:cNvSpPr txBox="1">
            <a:spLocks noChangeArrowheads="1"/>
          </p:cNvSpPr>
          <p:nvPr/>
        </p:nvSpPr>
        <p:spPr bwMode="black">
          <a:xfrm>
            <a:off x="5589583" y="4298411"/>
            <a:ext cx="1996018" cy="6309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400" dirty="0" smtClean="0">
                <a:solidFill>
                  <a:srgbClr val="000000"/>
                </a:solidFill>
                <a:latin typeface="Calibri" pitchFamily="34" charset="0"/>
              </a:rPr>
              <a:t>点击输入文本</a:t>
            </a:r>
            <a:endParaRPr lang="en-US" altLang="zh-CN" sz="1400" dirty="0" smtClean="0">
              <a:solidFill>
                <a:srgbClr val="000000"/>
              </a:solidFill>
              <a:latin typeface="Calibri" pitchFamily="34" charset="0"/>
            </a:endParaRPr>
          </a:p>
          <a:p>
            <a:pPr>
              <a:spcBef>
                <a:spcPct val="50000"/>
              </a:spcBef>
            </a:pPr>
            <a:r>
              <a:rPr lang="zh-CN" altLang="en-US" sz="1400" dirty="0" smtClean="0">
                <a:solidFill>
                  <a:srgbClr val="000000"/>
                </a:solidFill>
                <a:latin typeface="Calibri" pitchFamily="34" charset="0"/>
              </a:rPr>
              <a:t>点击输入文本</a:t>
            </a:r>
            <a:endParaRPr lang="en-US" altLang="zh-CN" sz="1400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5" name="Text Box 29"/>
          <p:cNvSpPr txBox="1">
            <a:spLocks noChangeArrowheads="1"/>
          </p:cNvSpPr>
          <p:nvPr/>
        </p:nvSpPr>
        <p:spPr bwMode="black">
          <a:xfrm>
            <a:off x="5594344" y="3905248"/>
            <a:ext cx="1045104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2000" b="1" dirty="0" smtClean="0">
                <a:solidFill>
                  <a:srgbClr val="000000"/>
                </a:solidFill>
                <a:latin typeface="Calibri" pitchFamily="34" charset="0"/>
              </a:rPr>
              <a:t>文本</a:t>
            </a:r>
            <a:endParaRPr lang="en-US" altLang="zh-CN" sz="2000" b="1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6" name="Text Box 29"/>
          <p:cNvSpPr txBox="1">
            <a:spLocks noChangeArrowheads="1"/>
          </p:cNvSpPr>
          <p:nvPr/>
        </p:nvSpPr>
        <p:spPr bwMode="black">
          <a:xfrm>
            <a:off x="6680718" y="2020878"/>
            <a:ext cx="1996018" cy="6309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400" dirty="0" smtClean="0">
                <a:solidFill>
                  <a:srgbClr val="000000"/>
                </a:solidFill>
                <a:latin typeface="Calibri" pitchFamily="34" charset="0"/>
              </a:rPr>
              <a:t>点击输入文本</a:t>
            </a:r>
            <a:endParaRPr lang="en-US" altLang="zh-CN" sz="1400" dirty="0" smtClean="0">
              <a:solidFill>
                <a:srgbClr val="000000"/>
              </a:solidFill>
              <a:latin typeface="Calibri" pitchFamily="34" charset="0"/>
            </a:endParaRPr>
          </a:p>
          <a:p>
            <a:pPr>
              <a:spcBef>
                <a:spcPct val="50000"/>
              </a:spcBef>
            </a:pPr>
            <a:r>
              <a:rPr lang="zh-CN" altLang="en-US" sz="1400" dirty="0" smtClean="0">
                <a:solidFill>
                  <a:srgbClr val="000000"/>
                </a:solidFill>
                <a:latin typeface="Calibri" pitchFamily="34" charset="0"/>
              </a:rPr>
              <a:t>点击输入文本</a:t>
            </a:r>
            <a:endParaRPr lang="en-US" altLang="zh-CN" sz="1400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7" name="Text Box 29"/>
          <p:cNvSpPr txBox="1">
            <a:spLocks noChangeArrowheads="1"/>
          </p:cNvSpPr>
          <p:nvPr/>
        </p:nvSpPr>
        <p:spPr bwMode="black">
          <a:xfrm>
            <a:off x="6685479" y="1627715"/>
            <a:ext cx="1045104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2000" b="1" dirty="0" smtClean="0">
                <a:solidFill>
                  <a:srgbClr val="000000"/>
                </a:solidFill>
                <a:latin typeface="Calibri" pitchFamily="34" charset="0"/>
              </a:rPr>
              <a:t>文本</a:t>
            </a:r>
            <a:endParaRPr lang="en-US" altLang="zh-CN" sz="2000" b="1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1307547" y="4063475"/>
            <a:ext cx="11079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200" dirty="0" smtClean="0">
                <a:solidFill>
                  <a:srgbClr val="000000"/>
                </a:solidFill>
                <a:latin typeface="Calibri" pitchFamily="34" charset="0"/>
              </a:rPr>
              <a:t>点击输入文本</a:t>
            </a:r>
            <a:endParaRPr lang="en-US" altLang="zh-CN" sz="1200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1307547" y="4349211"/>
            <a:ext cx="11079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200" dirty="0" smtClean="0">
                <a:solidFill>
                  <a:srgbClr val="000000"/>
                </a:solidFill>
                <a:latin typeface="Calibri" pitchFamily="34" charset="0"/>
              </a:rPr>
              <a:t>点击输入文本</a:t>
            </a:r>
            <a:endParaRPr lang="en-US" altLang="zh-CN" sz="1200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1307547" y="4654003"/>
            <a:ext cx="11079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200" dirty="0" smtClean="0">
                <a:solidFill>
                  <a:srgbClr val="000000"/>
                </a:solidFill>
                <a:latin typeface="Calibri" pitchFamily="34" charset="0"/>
              </a:rPr>
              <a:t>点击输入文本</a:t>
            </a:r>
            <a:endParaRPr lang="en-US" altLang="zh-CN" sz="1200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1" name="矩形 60"/>
          <p:cNvSpPr/>
          <p:nvPr/>
        </p:nvSpPr>
        <p:spPr>
          <a:xfrm>
            <a:off x="1307547" y="4956665"/>
            <a:ext cx="11079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200" dirty="0" smtClean="0">
                <a:solidFill>
                  <a:srgbClr val="000000"/>
                </a:solidFill>
                <a:latin typeface="Calibri" pitchFamily="34" charset="0"/>
              </a:rPr>
              <a:t>点击输入文本</a:t>
            </a:r>
            <a:endParaRPr lang="en-US" altLang="zh-CN" sz="1200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2" name="矩形 61"/>
          <p:cNvSpPr/>
          <p:nvPr/>
        </p:nvSpPr>
        <p:spPr>
          <a:xfrm>
            <a:off x="1307547" y="5240286"/>
            <a:ext cx="11079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200" dirty="0" smtClean="0">
                <a:solidFill>
                  <a:srgbClr val="000000"/>
                </a:solidFill>
                <a:latin typeface="Calibri" pitchFamily="34" charset="0"/>
              </a:rPr>
              <a:t>点击输入文本</a:t>
            </a:r>
            <a:endParaRPr lang="en-US" altLang="zh-CN" sz="1200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000"/>
                            </p:stCondLst>
                            <p:childTnLst>
                              <p:par>
                                <p:cTn id="3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000"/>
                            </p:stCondLst>
                            <p:childTnLst>
                              <p:par>
                                <p:cTn id="4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500"/>
                            </p:stCondLst>
                            <p:childTnLst>
                              <p:par>
                                <p:cTn id="44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4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0"/>
                            </p:stCondLst>
                            <p:childTnLst>
                              <p:par>
                                <p:cTn id="48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5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500"/>
                            </p:stCondLst>
                            <p:childTnLst>
                              <p:par>
                                <p:cTn id="5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6000"/>
                            </p:stCondLst>
                            <p:childTnLst>
                              <p:par>
                                <p:cTn id="56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5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6500"/>
                            </p:stCondLst>
                            <p:childTnLst>
                              <p:par>
                                <p:cTn id="60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62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7000"/>
                            </p:stCondLst>
                            <p:childTnLst>
                              <p:par>
                                <p:cTn id="6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7500"/>
                            </p:stCondLst>
                            <p:childTnLst>
                              <p:par>
                                <p:cTn id="68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8000"/>
                            </p:stCondLst>
                            <p:childTnLst>
                              <p:par>
                                <p:cTn id="72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4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8500"/>
                            </p:stCondLst>
                            <p:childTnLst>
                              <p:par>
                                <p:cTn id="76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9000"/>
                            </p:stCondLst>
                            <p:childTnLst>
                              <p:par>
                                <p:cTn id="80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8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9500"/>
                            </p:stCondLst>
                            <p:childTnLst>
                              <p:par>
                                <p:cTn id="84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86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0000"/>
                            </p:stCondLst>
                            <p:childTnLst>
                              <p:par>
                                <p:cTn id="88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9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10500"/>
                            </p:stCondLst>
                            <p:childTnLst>
                              <p:par>
                                <p:cTn id="92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94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11000"/>
                            </p:stCondLst>
                            <p:childTnLst>
                              <p:par>
                                <p:cTn id="96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9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1500"/>
                            </p:stCondLst>
                            <p:childTnLst>
                              <p:par>
                                <p:cTn id="10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02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12500"/>
                            </p:stCondLst>
                            <p:childTnLst>
                              <p:par>
                                <p:cTn id="10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0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13000"/>
                            </p:stCondLst>
                            <p:childTnLst>
                              <p:par>
                                <p:cTn id="10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1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>
                            <p:stCondLst>
                              <p:cond delay="13500"/>
                            </p:stCondLst>
                            <p:childTnLst>
                              <p:par>
                                <p:cTn id="11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1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14000"/>
                            </p:stCondLst>
                            <p:childTnLst>
                              <p:par>
                                <p:cTn id="11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1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14500"/>
                            </p:stCondLst>
                            <p:childTnLst>
                              <p:par>
                                <p:cTn id="12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2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15000"/>
                            </p:stCondLst>
                            <p:childTnLst>
                              <p:par>
                                <p:cTn id="12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2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7" fill="hold">
                            <p:stCondLst>
                              <p:cond delay="15500"/>
                            </p:stCondLst>
                            <p:childTnLst>
                              <p:par>
                                <p:cTn id="12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30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>
                            <p:stCondLst>
                              <p:cond delay="16000"/>
                            </p:stCondLst>
                            <p:childTnLst>
                              <p:par>
                                <p:cTn id="13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3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5" fill="hold">
                            <p:stCondLst>
                              <p:cond delay="16500"/>
                            </p:stCondLst>
                            <p:childTnLst>
                              <p:par>
                                <p:cTn id="13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3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17000"/>
                            </p:stCondLst>
                            <p:childTnLst>
                              <p:par>
                                <p:cTn id="14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4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1" grpId="0"/>
      <p:bldP spid="32" grpId="0"/>
      <p:bldP spid="33" grpId="0"/>
      <p:bldP spid="34" grpId="0"/>
      <p:bldP spid="35" grpId="0"/>
      <p:bldP spid="36" grpId="0" animBg="1"/>
      <p:bldP spid="37" grpId="0" animBg="1"/>
      <p:bldP spid="38" grpId="0" animBg="1"/>
      <p:bldP spid="39" grpId="0" animBg="1"/>
      <p:bldP spid="40" grpId="0" animBg="1"/>
      <p:bldP spid="41" grpId="0"/>
      <p:bldP spid="42" grpId="0"/>
      <p:bldP spid="43" grpId="0"/>
      <p:bldP spid="44" grpId="0"/>
      <p:bldP spid="45" grpId="0"/>
      <p:bldP spid="46" grpId="0" animBg="1"/>
      <p:bldP spid="47" grpId="0"/>
      <p:bldP spid="48" grpId="0"/>
      <p:bldP spid="49" grpId="0"/>
      <p:bldP spid="50" grpId="0"/>
      <p:bldP spid="51" grpId="0"/>
      <p:bldP spid="52" grpId="0"/>
      <p:bldP spid="53" grpId="0"/>
      <p:bldP spid="54" grpId="0"/>
      <p:bldP spid="55" grpId="0"/>
      <p:bldP spid="56" grpId="0"/>
      <p:bldP spid="57" grpId="0"/>
      <p:bldP spid="58" grpId="0"/>
      <p:bldP spid="59" grpId="0"/>
      <p:bldP spid="60" grpId="0"/>
      <p:bldP spid="61" grpId="0"/>
      <p:bldP spid="6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2"/>
          <p:cNvGrpSpPr>
            <a:grpSpLocks/>
          </p:cNvGrpSpPr>
          <p:nvPr/>
        </p:nvGrpSpPr>
        <p:grpSpPr bwMode="auto">
          <a:xfrm>
            <a:off x="1390650" y="1828800"/>
            <a:ext cx="6400800" cy="3362325"/>
            <a:chOff x="0" y="0"/>
            <a:chExt cx="4161" cy="2106"/>
          </a:xfrm>
        </p:grpSpPr>
        <p:grpSp>
          <p:nvGrpSpPr>
            <p:cNvPr id="16" name="Group 3"/>
            <p:cNvGrpSpPr>
              <a:grpSpLocks/>
            </p:cNvGrpSpPr>
            <p:nvPr/>
          </p:nvGrpSpPr>
          <p:grpSpPr bwMode="auto">
            <a:xfrm>
              <a:off x="0" y="37"/>
              <a:ext cx="2770" cy="2069"/>
              <a:chOff x="0" y="0"/>
              <a:chExt cx="2770" cy="2069"/>
            </a:xfrm>
          </p:grpSpPr>
          <p:sp>
            <p:nvSpPr>
              <p:cNvPr id="48" name="未知"/>
              <p:cNvSpPr>
                <a:spLocks/>
              </p:cNvSpPr>
              <p:nvPr/>
            </p:nvSpPr>
            <p:spPr bwMode="auto">
              <a:xfrm>
                <a:off x="435" y="19"/>
                <a:ext cx="159" cy="63"/>
              </a:xfrm>
              <a:custGeom>
                <a:avLst/>
                <a:gdLst/>
                <a:ahLst/>
                <a:cxnLst>
                  <a:cxn ang="0">
                    <a:pos x="191" y="7"/>
                  </a:cxn>
                  <a:cxn ang="0">
                    <a:pos x="103" y="9"/>
                  </a:cxn>
                  <a:cxn ang="0">
                    <a:pos x="109" y="25"/>
                  </a:cxn>
                  <a:cxn ang="0">
                    <a:pos x="107" y="33"/>
                  </a:cxn>
                  <a:cxn ang="0">
                    <a:pos x="89" y="27"/>
                  </a:cxn>
                  <a:cxn ang="0">
                    <a:pos x="77" y="19"/>
                  </a:cxn>
                  <a:cxn ang="0">
                    <a:pos x="23" y="27"/>
                  </a:cxn>
                  <a:cxn ang="0">
                    <a:pos x="31" y="49"/>
                  </a:cxn>
                  <a:cxn ang="0">
                    <a:pos x="55" y="53"/>
                  </a:cxn>
                  <a:cxn ang="0">
                    <a:pos x="75" y="73"/>
                  </a:cxn>
                  <a:cxn ang="0">
                    <a:pos x="89" y="85"/>
                  </a:cxn>
                  <a:cxn ang="0">
                    <a:pos x="109" y="67"/>
                  </a:cxn>
                  <a:cxn ang="0">
                    <a:pos x="121" y="59"/>
                  </a:cxn>
                  <a:cxn ang="0">
                    <a:pos x="127" y="47"/>
                  </a:cxn>
                  <a:cxn ang="0">
                    <a:pos x="167" y="35"/>
                  </a:cxn>
                  <a:cxn ang="0">
                    <a:pos x="187" y="31"/>
                  </a:cxn>
                  <a:cxn ang="0">
                    <a:pos x="199" y="27"/>
                  </a:cxn>
                  <a:cxn ang="0">
                    <a:pos x="191" y="7"/>
                  </a:cxn>
                </a:cxnLst>
                <a:rect l="0" t="0" r="r" b="b"/>
                <a:pathLst>
                  <a:path w="206" h="85">
                    <a:moveTo>
                      <a:pt x="191" y="7"/>
                    </a:moveTo>
                    <a:cubicBezTo>
                      <a:pt x="165" y="6"/>
                      <a:pt x="130" y="0"/>
                      <a:pt x="103" y="9"/>
                    </a:cubicBezTo>
                    <a:cubicBezTo>
                      <a:pt x="100" y="18"/>
                      <a:pt x="101" y="20"/>
                      <a:pt x="109" y="25"/>
                    </a:cubicBezTo>
                    <a:cubicBezTo>
                      <a:pt x="111" y="28"/>
                      <a:pt x="118" y="34"/>
                      <a:pt x="107" y="33"/>
                    </a:cubicBezTo>
                    <a:cubicBezTo>
                      <a:pt x="101" y="32"/>
                      <a:pt x="89" y="27"/>
                      <a:pt x="89" y="27"/>
                    </a:cubicBezTo>
                    <a:cubicBezTo>
                      <a:pt x="86" y="24"/>
                      <a:pt x="82" y="18"/>
                      <a:pt x="77" y="19"/>
                    </a:cubicBezTo>
                    <a:cubicBezTo>
                      <a:pt x="52" y="22"/>
                      <a:pt x="57" y="25"/>
                      <a:pt x="23" y="27"/>
                    </a:cubicBezTo>
                    <a:cubicBezTo>
                      <a:pt x="0" y="31"/>
                      <a:pt x="18" y="45"/>
                      <a:pt x="31" y="49"/>
                    </a:cubicBezTo>
                    <a:cubicBezTo>
                      <a:pt x="43" y="53"/>
                      <a:pt x="35" y="51"/>
                      <a:pt x="55" y="53"/>
                    </a:cubicBezTo>
                    <a:cubicBezTo>
                      <a:pt x="63" y="59"/>
                      <a:pt x="66" y="67"/>
                      <a:pt x="75" y="73"/>
                    </a:cubicBezTo>
                    <a:cubicBezTo>
                      <a:pt x="78" y="81"/>
                      <a:pt x="81" y="82"/>
                      <a:pt x="89" y="85"/>
                    </a:cubicBezTo>
                    <a:cubicBezTo>
                      <a:pt x="104" y="81"/>
                      <a:pt x="99" y="75"/>
                      <a:pt x="109" y="67"/>
                    </a:cubicBezTo>
                    <a:cubicBezTo>
                      <a:pt x="113" y="64"/>
                      <a:pt x="121" y="59"/>
                      <a:pt x="121" y="59"/>
                    </a:cubicBezTo>
                    <a:cubicBezTo>
                      <a:pt x="123" y="55"/>
                      <a:pt x="124" y="50"/>
                      <a:pt x="127" y="47"/>
                    </a:cubicBezTo>
                    <a:cubicBezTo>
                      <a:pt x="132" y="41"/>
                      <a:pt x="158" y="37"/>
                      <a:pt x="167" y="35"/>
                    </a:cubicBezTo>
                    <a:cubicBezTo>
                      <a:pt x="174" y="34"/>
                      <a:pt x="181" y="33"/>
                      <a:pt x="187" y="31"/>
                    </a:cubicBezTo>
                    <a:cubicBezTo>
                      <a:pt x="191" y="30"/>
                      <a:pt x="199" y="27"/>
                      <a:pt x="199" y="27"/>
                    </a:cubicBezTo>
                    <a:cubicBezTo>
                      <a:pt x="206" y="16"/>
                      <a:pt x="199" y="15"/>
                      <a:pt x="191" y="7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9" name="未知"/>
              <p:cNvSpPr>
                <a:spLocks/>
              </p:cNvSpPr>
              <p:nvPr/>
            </p:nvSpPr>
            <p:spPr bwMode="auto">
              <a:xfrm>
                <a:off x="535" y="52"/>
                <a:ext cx="49" cy="21"/>
              </a:xfrm>
              <a:custGeom>
                <a:avLst/>
                <a:gdLst/>
                <a:ahLst/>
                <a:cxnLst>
                  <a:cxn ang="0">
                    <a:pos x="36" y="6"/>
                  </a:cxn>
                  <a:cxn ang="0">
                    <a:pos x="8" y="4"/>
                  </a:cxn>
                  <a:cxn ang="0">
                    <a:pos x="24" y="28"/>
                  </a:cxn>
                  <a:cxn ang="0">
                    <a:pos x="54" y="14"/>
                  </a:cxn>
                  <a:cxn ang="0">
                    <a:pos x="36" y="6"/>
                  </a:cxn>
                </a:cxnLst>
                <a:rect l="0" t="0" r="r" b="b"/>
                <a:pathLst>
                  <a:path w="64" h="28">
                    <a:moveTo>
                      <a:pt x="36" y="6"/>
                    </a:moveTo>
                    <a:cubicBezTo>
                      <a:pt x="32" y="18"/>
                      <a:pt x="19" y="0"/>
                      <a:pt x="8" y="4"/>
                    </a:cubicBezTo>
                    <a:cubicBezTo>
                      <a:pt x="0" y="16"/>
                      <a:pt x="14" y="27"/>
                      <a:pt x="24" y="28"/>
                    </a:cubicBezTo>
                    <a:cubicBezTo>
                      <a:pt x="30" y="27"/>
                      <a:pt x="48" y="16"/>
                      <a:pt x="54" y="14"/>
                    </a:cubicBezTo>
                    <a:cubicBezTo>
                      <a:pt x="64" y="10"/>
                      <a:pt x="36" y="9"/>
                      <a:pt x="36" y="6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0" name="未知"/>
              <p:cNvSpPr>
                <a:spLocks/>
              </p:cNvSpPr>
              <p:nvPr/>
            </p:nvSpPr>
            <p:spPr bwMode="auto">
              <a:xfrm>
                <a:off x="235" y="323"/>
                <a:ext cx="112" cy="131"/>
              </a:xfrm>
              <a:custGeom>
                <a:avLst/>
                <a:gdLst/>
                <a:ahLst/>
                <a:cxnLst>
                  <a:cxn ang="0">
                    <a:pos x="24" y="19"/>
                  </a:cxn>
                  <a:cxn ang="0">
                    <a:pos x="0" y="25"/>
                  </a:cxn>
                  <a:cxn ang="0">
                    <a:pos x="14" y="43"/>
                  </a:cxn>
                  <a:cxn ang="0">
                    <a:pos x="34" y="87"/>
                  </a:cxn>
                  <a:cxn ang="0">
                    <a:pos x="52" y="91"/>
                  </a:cxn>
                  <a:cxn ang="0">
                    <a:pos x="50" y="107"/>
                  </a:cxn>
                  <a:cxn ang="0">
                    <a:pos x="28" y="113"/>
                  </a:cxn>
                  <a:cxn ang="0">
                    <a:pos x="16" y="131"/>
                  </a:cxn>
                  <a:cxn ang="0">
                    <a:pos x="18" y="137"/>
                  </a:cxn>
                  <a:cxn ang="0">
                    <a:pos x="30" y="141"/>
                  </a:cxn>
                  <a:cxn ang="0">
                    <a:pos x="18" y="169"/>
                  </a:cxn>
                  <a:cxn ang="0">
                    <a:pos x="20" y="175"/>
                  </a:cxn>
                  <a:cxn ang="0">
                    <a:pos x="34" y="171"/>
                  </a:cxn>
                  <a:cxn ang="0">
                    <a:pos x="58" y="169"/>
                  </a:cxn>
                  <a:cxn ang="0">
                    <a:pos x="92" y="171"/>
                  </a:cxn>
                  <a:cxn ang="0">
                    <a:pos x="110" y="169"/>
                  </a:cxn>
                  <a:cxn ang="0">
                    <a:pos x="122" y="165"/>
                  </a:cxn>
                  <a:cxn ang="0">
                    <a:pos x="128" y="141"/>
                  </a:cxn>
                  <a:cxn ang="0">
                    <a:pos x="146" y="133"/>
                  </a:cxn>
                  <a:cxn ang="0">
                    <a:pos x="110" y="109"/>
                  </a:cxn>
                  <a:cxn ang="0">
                    <a:pos x="88" y="83"/>
                  </a:cxn>
                  <a:cxn ang="0">
                    <a:pos x="82" y="69"/>
                  </a:cxn>
                  <a:cxn ang="0">
                    <a:pos x="64" y="61"/>
                  </a:cxn>
                  <a:cxn ang="0">
                    <a:pos x="86" y="45"/>
                  </a:cxn>
                  <a:cxn ang="0">
                    <a:pos x="64" y="31"/>
                  </a:cxn>
                  <a:cxn ang="0">
                    <a:pos x="70" y="13"/>
                  </a:cxn>
                  <a:cxn ang="0">
                    <a:pos x="46" y="1"/>
                  </a:cxn>
                  <a:cxn ang="0">
                    <a:pos x="30" y="9"/>
                  </a:cxn>
                  <a:cxn ang="0">
                    <a:pos x="24" y="19"/>
                  </a:cxn>
                </a:cxnLst>
                <a:rect l="0" t="0" r="r" b="b"/>
                <a:pathLst>
                  <a:path w="146" h="176">
                    <a:moveTo>
                      <a:pt x="24" y="19"/>
                    </a:moveTo>
                    <a:cubicBezTo>
                      <a:pt x="13" y="23"/>
                      <a:pt x="7" y="15"/>
                      <a:pt x="0" y="25"/>
                    </a:cubicBezTo>
                    <a:cubicBezTo>
                      <a:pt x="2" y="32"/>
                      <a:pt x="14" y="43"/>
                      <a:pt x="14" y="43"/>
                    </a:cubicBezTo>
                    <a:cubicBezTo>
                      <a:pt x="19" y="58"/>
                      <a:pt x="20" y="78"/>
                      <a:pt x="34" y="87"/>
                    </a:cubicBezTo>
                    <a:cubicBezTo>
                      <a:pt x="42" y="84"/>
                      <a:pt x="45" y="86"/>
                      <a:pt x="52" y="91"/>
                    </a:cubicBezTo>
                    <a:cubicBezTo>
                      <a:pt x="57" y="105"/>
                      <a:pt x="60" y="101"/>
                      <a:pt x="50" y="107"/>
                    </a:cubicBezTo>
                    <a:cubicBezTo>
                      <a:pt x="38" y="105"/>
                      <a:pt x="32" y="101"/>
                      <a:pt x="28" y="113"/>
                    </a:cubicBezTo>
                    <a:cubicBezTo>
                      <a:pt x="32" y="129"/>
                      <a:pt x="33" y="128"/>
                      <a:pt x="16" y="131"/>
                    </a:cubicBezTo>
                    <a:cubicBezTo>
                      <a:pt x="17" y="133"/>
                      <a:pt x="16" y="136"/>
                      <a:pt x="18" y="137"/>
                    </a:cubicBezTo>
                    <a:cubicBezTo>
                      <a:pt x="21" y="139"/>
                      <a:pt x="30" y="141"/>
                      <a:pt x="30" y="141"/>
                    </a:cubicBezTo>
                    <a:cubicBezTo>
                      <a:pt x="28" y="152"/>
                      <a:pt x="21" y="159"/>
                      <a:pt x="18" y="169"/>
                    </a:cubicBezTo>
                    <a:cubicBezTo>
                      <a:pt x="19" y="171"/>
                      <a:pt x="18" y="174"/>
                      <a:pt x="20" y="175"/>
                    </a:cubicBezTo>
                    <a:cubicBezTo>
                      <a:pt x="22" y="176"/>
                      <a:pt x="32" y="171"/>
                      <a:pt x="34" y="171"/>
                    </a:cubicBezTo>
                    <a:cubicBezTo>
                      <a:pt x="42" y="170"/>
                      <a:pt x="50" y="170"/>
                      <a:pt x="58" y="169"/>
                    </a:cubicBezTo>
                    <a:cubicBezTo>
                      <a:pt x="70" y="167"/>
                      <a:pt x="80" y="167"/>
                      <a:pt x="92" y="171"/>
                    </a:cubicBezTo>
                    <a:cubicBezTo>
                      <a:pt x="98" y="170"/>
                      <a:pt x="104" y="170"/>
                      <a:pt x="110" y="169"/>
                    </a:cubicBezTo>
                    <a:cubicBezTo>
                      <a:pt x="114" y="168"/>
                      <a:pt x="122" y="165"/>
                      <a:pt x="122" y="165"/>
                    </a:cubicBezTo>
                    <a:cubicBezTo>
                      <a:pt x="124" y="158"/>
                      <a:pt x="123" y="147"/>
                      <a:pt x="128" y="141"/>
                    </a:cubicBezTo>
                    <a:cubicBezTo>
                      <a:pt x="132" y="136"/>
                      <a:pt x="146" y="133"/>
                      <a:pt x="146" y="133"/>
                    </a:cubicBezTo>
                    <a:cubicBezTo>
                      <a:pt x="142" y="105"/>
                      <a:pt x="143" y="111"/>
                      <a:pt x="110" y="109"/>
                    </a:cubicBezTo>
                    <a:cubicBezTo>
                      <a:pt x="102" y="97"/>
                      <a:pt x="103" y="88"/>
                      <a:pt x="88" y="83"/>
                    </a:cubicBezTo>
                    <a:cubicBezTo>
                      <a:pt x="85" y="79"/>
                      <a:pt x="86" y="72"/>
                      <a:pt x="82" y="69"/>
                    </a:cubicBezTo>
                    <a:cubicBezTo>
                      <a:pt x="77" y="65"/>
                      <a:pt x="69" y="65"/>
                      <a:pt x="64" y="61"/>
                    </a:cubicBezTo>
                    <a:cubicBezTo>
                      <a:pt x="52" y="43"/>
                      <a:pt x="67" y="47"/>
                      <a:pt x="86" y="45"/>
                    </a:cubicBezTo>
                    <a:cubicBezTo>
                      <a:pt x="93" y="25"/>
                      <a:pt x="83" y="29"/>
                      <a:pt x="64" y="31"/>
                    </a:cubicBezTo>
                    <a:cubicBezTo>
                      <a:pt x="62" y="25"/>
                      <a:pt x="70" y="13"/>
                      <a:pt x="70" y="13"/>
                    </a:cubicBezTo>
                    <a:cubicBezTo>
                      <a:pt x="64" y="4"/>
                      <a:pt x="56" y="3"/>
                      <a:pt x="46" y="1"/>
                    </a:cubicBezTo>
                    <a:cubicBezTo>
                      <a:pt x="35" y="3"/>
                      <a:pt x="34" y="0"/>
                      <a:pt x="30" y="9"/>
                    </a:cubicBezTo>
                    <a:cubicBezTo>
                      <a:pt x="25" y="21"/>
                      <a:pt x="29" y="24"/>
                      <a:pt x="24" y="19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1" name="未知"/>
              <p:cNvSpPr>
                <a:spLocks/>
              </p:cNvSpPr>
              <p:nvPr/>
            </p:nvSpPr>
            <p:spPr bwMode="auto">
              <a:xfrm>
                <a:off x="180" y="370"/>
                <a:ext cx="71" cy="68"/>
              </a:xfrm>
              <a:custGeom>
                <a:avLst/>
                <a:gdLst/>
                <a:ahLst/>
                <a:cxnLst>
                  <a:cxn ang="0">
                    <a:pos x="58" y="6"/>
                  </a:cxn>
                  <a:cxn ang="0">
                    <a:pos x="82" y="8"/>
                  </a:cxn>
                  <a:cxn ang="0">
                    <a:pos x="92" y="26"/>
                  </a:cxn>
                  <a:cxn ang="0">
                    <a:pos x="78" y="48"/>
                  </a:cxn>
                  <a:cxn ang="0">
                    <a:pos x="46" y="76"/>
                  </a:cxn>
                  <a:cxn ang="0">
                    <a:pos x="18" y="92"/>
                  </a:cxn>
                  <a:cxn ang="0">
                    <a:pos x="8" y="72"/>
                  </a:cxn>
                  <a:cxn ang="0">
                    <a:pos x="20" y="64"/>
                  </a:cxn>
                  <a:cxn ang="0">
                    <a:pos x="14" y="46"/>
                  </a:cxn>
                  <a:cxn ang="0">
                    <a:pos x="40" y="28"/>
                  </a:cxn>
                  <a:cxn ang="0">
                    <a:pos x="58" y="6"/>
                  </a:cxn>
                </a:cxnLst>
                <a:rect l="0" t="0" r="r" b="b"/>
                <a:pathLst>
                  <a:path w="92" h="92">
                    <a:moveTo>
                      <a:pt x="58" y="6"/>
                    </a:moveTo>
                    <a:cubicBezTo>
                      <a:pt x="67" y="0"/>
                      <a:pt x="73" y="2"/>
                      <a:pt x="82" y="8"/>
                    </a:cubicBezTo>
                    <a:cubicBezTo>
                      <a:pt x="91" y="22"/>
                      <a:pt x="88" y="15"/>
                      <a:pt x="92" y="26"/>
                    </a:cubicBezTo>
                    <a:cubicBezTo>
                      <a:pt x="89" y="36"/>
                      <a:pt x="82" y="37"/>
                      <a:pt x="78" y="48"/>
                    </a:cubicBezTo>
                    <a:cubicBezTo>
                      <a:pt x="85" y="69"/>
                      <a:pt x="60" y="71"/>
                      <a:pt x="46" y="76"/>
                    </a:cubicBezTo>
                    <a:cubicBezTo>
                      <a:pt x="40" y="86"/>
                      <a:pt x="28" y="86"/>
                      <a:pt x="18" y="92"/>
                    </a:cubicBezTo>
                    <a:cubicBezTo>
                      <a:pt x="9" y="90"/>
                      <a:pt x="0" y="84"/>
                      <a:pt x="8" y="72"/>
                    </a:cubicBezTo>
                    <a:cubicBezTo>
                      <a:pt x="11" y="68"/>
                      <a:pt x="20" y="64"/>
                      <a:pt x="20" y="64"/>
                    </a:cubicBezTo>
                    <a:cubicBezTo>
                      <a:pt x="23" y="55"/>
                      <a:pt x="21" y="53"/>
                      <a:pt x="14" y="46"/>
                    </a:cubicBezTo>
                    <a:cubicBezTo>
                      <a:pt x="18" y="30"/>
                      <a:pt x="28" y="36"/>
                      <a:pt x="40" y="28"/>
                    </a:cubicBezTo>
                    <a:cubicBezTo>
                      <a:pt x="56" y="17"/>
                      <a:pt x="50" y="24"/>
                      <a:pt x="58" y="6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2" name="未知"/>
              <p:cNvSpPr>
                <a:spLocks/>
              </p:cNvSpPr>
              <p:nvPr/>
            </p:nvSpPr>
            <p:spPr bwMode="auto">
              <a:xfrm>
                <a:off x="1875" y="1502"/>
                <a:ext cx="486" cy="493"/>
              </a:xfrm>
              <a:custGeom>
                <a:avLst/>
                <a:gdLst/>
                <a:ahLst/>
                <a:cxnLst>
                  <a:cxn ang="0">
                    <a:pos x="212" y="11"/>
                  </a:cxn>
                  <a:cxn ang="0">
                    <a:pos x="176" y="19"/>
                  </a:cxn>
                  <a:cxn ang="0">
                    <a:pos x="144" y="51"/>
                  </a:cxn>
                  <a:cxn ang="0">
                    <a:pos x="104" y="59"/>
                  </a:cxn>
                  <a:cxn ang="0">
                    <a:pos x="84" y="75"/>
                  </a:cxn>
                  <a:cxn ang="0">
                    <a:pos x="68" y="115"/>
                  </a:cxn>
                  <a:cxn ang="0">
                    <a:pos x="36" y="167"/>
                  </a:cxn>
                  <a:cxn ang="0">
                    <a:pos x="0" y="179"/>
                  </a:cxn>
                  <a:cxn ang="0">
                    <a:pos x="72" y="323"/>
                  </a:cxn>
                  <a:cxn ang="0">
                    <a:pos x="120" y="427"/>
                  </a:cxn>
                  <a:cxn ang="0">
                    <a:pos x="144" y="443"/>
                  </a:cxn>
                  <a:cxn ang="0">
                    <a:pos x="168" y="451"/>
                  </a:cxn>
                  <a:cxn ang="0">
                    <a:pos x="228" y="431"/>
                  </a:cxn>
                  <a:cxn ang="0">
                    <a:pos x="252" y="423"/>
                  </a:cxn>
                  <a:cxn ang="0">
                    <a:pos x="300" y="451"/>
                  </a:cxn>
                  <a:cxn ang="0">
                    <a:pos x="324" y="527"/>
                  </a:cxn>
                  <a:cxn ang="0">
                    <a:pos x="336" y="523"/>
                  </a:cxn>
                  <a:cxn ang="0">
                    <a:pos x="344" y="511"/>
                  </a:cxn>
                  <a:cxn ang="0">
                    <a:pos x="368" y="547"/>
                  </a:cxn>
                  <a:cxn ang="0">
                    <a:pos x="404" y="571"/>
                  </a:cxn>
                  <a:cxn ang="0">
                    <a:pos x="436" y="603"/>
                  </a:cxn>
                  <a:cxn ang="0">
                    <a:pos x="444" y="615"/>
                  </a:cxn>
                  <a:cxn ang="0">
                    <a:pos x="456" y="623"/>
                  </a:cxn>
                  <a:cxn ang="0">
                    <a:pos x="484" y="655"/>
                  </a:cxn>
                  <a:cxn ang="0">
                    <a:pos x="492" y="631"/>
                  </a:cxn>
                  <a:cxn ang="0">
                    <a:pos x="540" y="659"/>
                  </a:cxn>
                  <a:cxn ang="0">
                    <a:pos x="588" y="655"/>
                  </a:cxn>
                  <a:cxn ang="0">
                    <a:pos x="616" y="531"/>
                  </a:cxn>
                  <a:cxn ang="0">
                    <a:pos x="632" y="463"/>
                  </a:cxn>
                  <a:cxn ang="0">
                    <a:pos x="620" y="367"/>
                  </a:cxn>
                  <a:cxn ang="0">
                    <a:pos x="536" y="271"/>
                  </a:cxn>
                  <a:cxn ang="0">
                    <a:pos x="528" y="235"/>
                  </a:cxn>
                  <a:cxn ang="0">
                    <a:pos x="460" y="179"/>
                  </a:cxn>
                  <a:cxn ang="0">
                    <a:pos x="472" y="155"/>
                  </a:cxn>
                  <a:cxn ang="0">
                    <a:pos x="456" y="131"/>
                  </a:cxn>
                  <a:cxn ang="0">
                    <a:pos x="416" y="79"/>
                  </a:cxn>
                  <a:cxn ang="0">
                    <a:pos x="392" y="31"/>
                  </a:cxn>
                  <a:cxn ang="0">
                    <a:pos x="388" y="19"/>
                  </a:cxn>
                  <a:cxn ang="0">
                    <a:pos x="364" y="151"/>
                  </a:cxn>
                  <a:cxn ang="0">
                    <a:pos x="324" y="115"/>
                  </a:cxn>
                  <a:cxn ang="0">
                    <a:pos x="292" y="111"/>
                  </a:cxn>
                  <a:cxn ang="0">
                    <a:pos x="272" y="87"/>
                  </a:cxn>
                  <a:cxn ang="0">
                    <a:pos x="264" y="63"/>
                  </a:cxn>
                  <a:cxn ang="0">
                    <a:pos x="276" y="55"/>
                  </a:cxn>
                  <a:cxn ang="0">
                    <a:pos x="240" y="19"/>
                  </a:cxn>
                  <a:cxn ang="0">
                    <a:pos x="216" y="11"/>
                  </a:cxn>
                  <a:cxn ang="0">
                    <a:pos x="204" y="7"/>
                  </a:cxn>
                  <a:cxn ang="0">
                    <a:pos x="212" y="11"/>
                  </a:cxn>
                </a:cxnLst>
                <a:rect l="0" t="0" r="r" b="b"/>
                <a:pathLst>
                  <a:path w="633" h="660">
                    <a:moveTo>
                      <a:pt x="212" y="11"/>
                    </a:moveTo>
                    <a:cubicBezTo>
                      <a:pt x="195" y="0"/>
                      <a:pt x="187" y="2"/>
                      <a:pt x="176" y="19"/>
                    </a:cubicBezTo>
                    <a:cubicBezTo>
                      <a:pt x="171" y="61"/>
                      <a:pt x="181" y="88"/>
                      <a:pt x="144" y="51"/>
                    </a:cubicBezTo>
                    <a:cubicBezTo>
                      <a:pt x="131" y="53"/>
                      <a:pt x="115" y="51"/>
                      <a:pt x="104" y="59"/>
                    </a:cubicBezTo>
                    <a:cubicBezTo>
                      <a:pt x="78" y="80"/>
                      <a:pt x="114" y="65"/>
                      <a:pt x="84" y="75"/>
                    </a:cubicBezTo>
                    <a:cubicBezTo>
                      <a:pt x="78" y="94"/>
                      <a:pt x="92" y="107"/>
                      <a:pt x="68" y="115"/>
                    </a:cubicBezTo>
                    <a:cubicBezTo>
                      <a:pt x="55" y="135"/>
                      <a:pt x="59" y="159"/>
                      <a:pt x="36" y="167"/>
                    </a:cubicBezTo>
                    <a:cubicBezTo>
                      <a:pt x="16" y="163"/>
                      <a:pt x="7" y="158"/>
                      <a:pt x="0" y="179"/>
                    </a:cubicBezTo>
                    <a:cubicBezTo>
                      <a:pt x="9" y="232"/>
                      <a:pt x="43" y="279"/>
                      <a:pt x="72" y="323"/>
                    </a:cubicBezTo>
                    <a:cubicBezTo>
                      <a:pt x="82" y="371"/>
                      <a:pt x="85" y="392"/>
                      <a:pt x="120" y="427"/>
                    </a:cubicBezTo>
                    <a:cubicBezTo>
                      <a:pt x="127" y="434"/>
                      <a:pt x="136" y="438"/>
                      <a:pt x="144" y="443"/>
                    </a:cubicBezTo>
                    <a:cubicBezTo>
                      <a:pt x="151" y="448"/>
                      <a:pt x="168" y="451"/>
                      <a:pt x="168" y="451"/>
                    </a:cubicBezTo>
                    <a:cubicBezTo>
                      <a:pt x="188" y="444"/>
                      <a:pt x="208" y="438"/>
                      <a:pt x="228" y="431"/>
                    </a:cubicBezTo>
                    <a:cubicBezTo>
                      <a:pt x="236" y="428"/>
                      <a:pt x="252" y="423"/>
                      <a:pt x="252" y="423"/>
                    </a:cubicBezTo>
                    <a:cubicBezTo>
                      <a:pt x="271" y="429"/>
                      <a:pt x="281" y="445"/>
                      <a:pt x="300" y="451"/>
                    </a:cubicBezTo>
                    <a:cubicBezTo>
                      <a:pt x="320" y="471"/>
                      <a:pt x="315" y="500"/>
                      <a:pt x="324" y="527"/>
                    </a:cubicBezTo>
                    <a:cubicBezTo>
                      <a:pt x="328" y="526"/>
                      <a:pt x="333" y="526"/>
                      <a:pt x="336" y="523"/>
                    </a:cubicBezTo>
                    <a:cubicBezTo>
                      <a:pt x="340" y="520"/>
                      <a:pt x="339" y="511"/>
                      <a:pt x="344" y="511"/>
                    </a:cubicBezTo>
                    <a:cubicBezTo>
                      <a:pt x="358" y="511"/>
                      <a:pt x="362" y="541"/>
                      <a:pt x="368" y="547"/>
                    </a:cubicBezTo>
                    <a:cubicBezTo>
                      <a:pt x="378" y="557"/>
                      <a:pt x="392" y="563"/>
                      <a:pt x="404" y="571"/>
                    </a:cubicBezTo>
                    <a:cubicBezTo>
                      <a:pt x="418" y="580"/>
                      <a:pt x="422" y="594"/>
                      <a:pt x="436" y="603"/>
                    </a:cubicBezTo>
                    <a:cubicBezTo>
                      <a:pt x="439" y="607"/>
                      <a:pt x="441" y="612"/>
                      <a:pt x="444" y="615"/>
                    </a:cubicBezTo>
                    <a:cubicBezTo>
                      <a:pt x="447" y="618"/>
                      <a:pt x="453" y="619"/>
                      <a:pt x="456" y="623"/>
                    </a:cubicBezTo>
                    <a:cubicBezTo>
                      <a:pt x="489" y="660"/>
                      <a:pt x="457" y="637"/>
                      <a:pt x="484" y="655"/>
                    </a:cubicBezTo>
                    <a:cubicBezTo>
                      <a:pt x="487" y="647"/>
                      <a:pt x="485" y="626"/>
                      <a:pt x="492" y="631"/>
                    </a:cubicBezTo>
                    <a:cubicBezTo>
                      <a:pt x="509" y="642"/>
                      <a:pt x="522" y="653"/>
                      <a:pt x="540" y="659"/>
                    </a:cubicBezTo>
                    <a:cubicBezTo>
                      <a:pt x="557" y="642"/>
                      <a:pt x="567" y="648"/>
                      <a:pt x="588" y="655"/>
                    </a:cubicBezTo>
                    <a:cubicBezTo>
                      <a:pt x="611" y="621"/>
                      <a:pt x="573" y="560"/>
                      <a:pt x="616" y="531"/>
                    </a:cubicBezTo>
                    <a:cubicBezTo>
                      <a:pt x="632" y="507"/>
                      <a:pt x="629" y="496"/>
                      <a:pt x="632" y="463"/>
                    </a:cubicBezTo>
                    <a:cubicBezTo>
                      <a:pt x="630" y="440"/>
                      <a:pt x="633" y="390"/>
                      <a:pt x="620" y="367"/>
                    </a:cubicBezTo>
                    <a:cubicBezTo>
                      <a:pt x="600" y="332"/>
                      <a:pt x="565" y="300"/>
                      <a:pt x="536" y="271"/>
                    </a:cubicBezTo>
                    <a:cubicBezTo>
                      <a:pt x="532" y="259"/>
                      <a:pt x="532" y="247"/>
                      <a:pt x="528" y="235"/>
                    </a:cubicBezTo>
                    <a:cubicBezTo>
                      <a:pt x="525" y="225"/>
                      <a:pt x="474" y="188"/>
                      <a:pt x="460" y="179"/>
                    </a:cubicBezTo>
                    <a:cubicBezTo>
                      <a:pt x="463" y="171"/>
                      <a:pt x="471" y="164"/>
                      <a:pt x="472" y="155"/>
                    </a:cubicBezTo>
                    <a:cubicBezTo>
                      <a:pt x="474" y="144"/>
                      <a:pt x="461" y="137"/>
                      <a:pt x="456" y="131"/>
                    </a:cubicBezTo>
                    <a:cubicBezTo>
                      <a:pt x="435" y="106"/>
                      <a:pt x="451" y="88"/>
                      <a:pt x="416" y="79"/>
                    </a:cubicBezTo>
                    <a:cubicBezTo>
                      <a:pt x="395" y="48"/>
                      <a:pt x="403" y="64"/>
                      <a:pt x="392" y="31"/>
                    </a:cubicBezTo>
                    <a:cubicBezTo>
                      <a:pt x="391" y="27"/>
                      <a:pt x="388" y="19"/>
                      <a:pt x="388" y="19"/>
                    </a:cubicBezTo>
                    <a:cubicBezTo>
                      <a:pt x="362" y="58"/>
                      <a:pt x="379" y="107"/>
                      <a:pt x="364" y="151"/>
                    </a:cubicBezTo>
                    <a:cubicBezTo>
                      <a:pt x="344" y="144"/>
                      <a:pt x="344" y="120"/>
                      <a:pt x="324" y="115"/>
                    </a:cubicBezTo>
                    <a:cubicBezTo>
                      <a:pt x="314" y="112"/>
                      <a:pt x="303" y="112"/>
                      <a:pt x="292" y="111"/>
                    </a:cubicBezTo>
                    <a:cubicBezTo>
                      <a:pt x="284" y="103"/>
                      <a:pt x="276" y="97"/>
                      <a:pt x="272" y="87"/>
                    </a:cubicBezTo>
                    <a:cubicBezTo>
                      <a:pt x="269" y="79"/>
                      <a:pt x="264" y="63"/>
                      <a:pt x="264" y="63"/>
                    </a:cubicBezTo>
                    <a:cubicBezTo>
                      <a:pt x="268" y="60"/>
                      <a:pt x="273" y="58"/>
                      <a:pt x="276" y="55"/>
                    </a:cubicBezTo>
                    <a:cubicBezTo>
                      <a:pt x="300" y="31"/>
                      <a:pt x="256" y="24"/>
                      <a:pt x="240" y="19"/>
                    </a:cubicBezTo>
                    <a:cubicBezTo>
                      <a:pt x="232" y="16"/>
                      <a:pt x="224" y="14"/>
                      <a:pt x="216" y="11"/>
                    </a:cubicBezTo>
                    <a:cubicBezTo>
                      <a:pt x="212" y="10"/>
                      <a:pt x="200" y="5"/>
                      <a:pt x="204" y="7"/>
                    </a:cubicBezTo>
                    <a:cubicBezTo>
                      <a:pt x="207" y="8"/>
                      <a:pt x="209" y="10"/>
                      <a:pt x="212" y="11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3" name="未知"/>
              <p:cNvSpPr>
                <a:spLocks/>
              </p:cNvSpPr>
              <p:nvPr/>
            </p:nvSpPr>
            <p:spPr bwMode="auto">
              <a:xfrm>
                <a:off x="2026" y="1242"/>
                <a:ext cx="327" cy="209"/>
              </a:xfrm>
              <a:custGeom>
                <a:avLst/>
                <a:gdLst/>
                <a:ahLst/>
                <a:cxnLst>
                  <a:cxn ang="0">
                    <a:pos x="84" y="60"/>
                  </a:cxn>
                  <a:cxn ang="0">
                    <a:pos x="68" y="36"/>
                  </a:cxn>
                  <a:cxn ang="0">
                    <a:pos x="64" y="16"/>
                  </a:cxn>
                  <a:cxn ang="0">
                    <a:pos x="52" y="12"/>
                  </a:cxn>
                  <a:cxn ang="0">
                    <a:pos x="16" y="16"/>
                  </a:cxn>
                  <a:cxn ang="0">
                    <a:pos x="44" y="40"/>
                  </a:cxn>
                  <a:cxn ang="0">
                    <a:pos x="48" y="52"/>
                  </a:cxn>
                  <a:cxn ang="0">
                    <a:pos x="24" y="68"/>
                  </a:cxn>
                  <a:cxn ang="0">
                    <a:pos x="88" y="92"/>
                  </a:cxn>
                  <a:cxn ang="0">
                    <a:pos x="124" y="112"/>
                  </a:cxn>
                  <a:cxn ang="0">
                    <a:pos x="128" y="124"/>
                  </a:cxn>
                  <a:cxn ang="0">
                    <a:pos x="140" y="132"/>
                  </a:cxn>
                  <a:cxn ang="0">
                    <a:pos x="148" y="156"/>
                  </a:cxn>
                  <a:cxn ang="0">
                    <a:pos x="132" y="196"/>
                  </a:cxn>
                  <a:cxn ang="0">
                    <a:pos x="180" y="188"/>
                  </a:cxn>
                  <a:cxn ang="0">
                    <a:pos x="192" y="216"/>
                  </a:cxn>
                  <a:cxn ang="0">
                    <a:pos x="216" y="224"/>
                  </a:cxn>
                  <a:cxn ang="0">
                    <a:pos x="228" y="228"/>
                  </a:cxn>
                  <a:cxn ang="0">
                    <a:pos x="252" y="224"/>
                  </a:cxn>
                  <a:cxn ang="0">
                    <a:pos x="276" y="196"/>
                  </a:cxn>
                  <a:cxn ang="0">
                    <a:pos x="336" y="252"/>
                  </a:cxn>
                  <a:cxn ang="0">
                    <a:pos x="364" y="280"/>
                  </a:cxn>
                  <a:cxn ang="0">
                    <a:pos x="360" y="224"/>
                  </a:cxn>
                  <a:cxn ang="0">
                    <a:pos x="336" y="200"/>
                  </a:cxn>
                  <a:cxn ang="0">
                    <a:pos x="372" y="168"/>
                  </a:cxn>
                  <a:cxn ang="0">
                    <a:pos x="408" y="156"/>
                  </a:cxn>
                  <a:cxn ang="0">
                    <a:pos x="420" y="152"/>
                  </a:cxn>
                  <a:cxn ang="0">
                    <a:pos x="424" y="140"/>
                  </a:cxn>
                  <a:cxn ang="0">
                    <a:pos x="356" y="148"/>
                  </a:cxn>
                  <a:cxn ang="0">
                    <a:pos x="304" y="140"/>
                  </a:cxn>
                  <a:cxn ang="0">
                    <a:pos x="300" y="128"/>
                  </a:cxn>
                  <a:cxn ang="0">
                    <a:pos x="292" y="116"/>
                  </a:cxn>
                  <a:cxn ang="0">
                    <a:pos x="220" y="80"/>
                  </a:cxn>
                  <a:cxn ang="0">
                    <a:pos x="160" y="60"/>
                  </a:cxn>
                  <a:cxn ang="0">
                    <a:pos x="136" y="52"/>
                  </a:cxn>
                  <a:cxn ang="0">
                    <a:pos x="80" y="52"/>
                  </a:cxn>
                  <a:cxn ang="0">
                    <a:pos x="68" y="32"/>
                  </a:cxn>
                  <a:cxn ang="0">
                    <a:pos x="68" y="0"/>
                  </a:cxn>
                </a:cxnLst>
                <a:rect l="0" t="0" r="r" b="b"/>
                <a:pathLst>
                  <a:path w="426" h="280">
                    <a:moveTo>
                      <a:pt x="84" y="60"/>
                    </a:moveTo>
                    <a:cubicBezTo>
                      <a:pt x="79" y="52"/>
                      <a:pt x="70" y="45"/>
                      <a:pt x="68" y="36"/>
                    </a:cubicBezTo>
                    <a:cubicBezTo>
                      <a:pt x="67" y="29"/>
                      <a:pt x="68" y="22"/>
                      <a:pt x="64" y="16"/>
                    </a:cubicBezTo>
                    <a:cubicBezTo>
                      <a:pt x="62" y="12"/>
                      <a:pt x="56" y="13"/>
                      <a:pt x="52" y="12"/>
                    </a:cubicBezTo>
                    <a:cubicBezTo>
                      <a:pt x="40" y="13"/>
                      <a:pt x="27" y="11"/>
                      <a:pt x="16" y="16"/>
                    </a:cubicBezTo>
                    <a:cubicBezTo>
                      <a:pt x="0" y="24"/>
                      <a:pt x="43" y="40"/>
                      <a:pt x="44" y="40"/>
                    </a:cubicBezTo>
                    <a:cubicBezTo>
                      <a:pt x="45" y="44"/>
                      <a:pt x="50" y="49"/>
                      <a:pt x="48" y="52"/>
                    </a:cubicBezTo>
                    <a:cubicBezTo>
                      <a:pt x="42" y="60"/>
                      <a:pt x="24" y="68"/>
                      <a:pt x="24" y="68"/>
                    </a:cubicBezTo>
                    <a:cubicBezTo>
                      <a:pt x="38" y="88"/>
                      <a:pt x="65" y="89"/>
                      <a:pt x="88" y="92"/>
                    </a:cubicBezTo>
                    <a:cubicBezTo>
                      <a:pt x="101" y="96"/>
                      <a:pt x="124" y="112"/>
                      <a:pt x="124" y="112"/>
                    </a:cubicBezTo>
                    <a:cubicBezTo>
                      <a:pt x="125" y="116"/>
                      <a:pt x="125" y="121"/>
                      <a:pt x="128" y="124"/>
                    </a:cubicBezTo>
                    <a:cubicBezTo>
                      <a:pt x="131" y="128"/>
                      <a:pt x="137" y="128"/>
                      <a:pt x="140" y="132"/>
                    </a:cubicBezTo>
                    <a:cubicBezTo>
                      <a:pt x="144" y="139"/>
                      <a:pt x="148" y="156"/>
                      <a:pt x="148" y="156"/>
                    </a:cubicBezTo>
                    <a:cubicBezTo>
                      <a:pt x="144" y="171"/>
                      <a:pt x="137" y="181"/>
                      <a:pt x="132" y="196"/>
                    </a:cubicBezTo>
                    <a:cubicBezTo>
                      <a:pt x="151" y="209"/>
                      <a:pt x="167" y="207"/>
                      <a:pt x="180" y="188"/>
                    </a:cubicBezTo>
                    <a:cubicBezTo>
                      <a:pt x="182" y="196"/>
                      <a:pt x="184" y="211"/>
                      <a:pt x="192" y="216"/>
                    </a:cubicBezTo>
                    <a:cubicBezTo>
                      <a:pt x="199" y="220"/>
                      <a:pt x="208" y="221"/>
                      <a:pt x="216" y="224"/>
                    </a:cubicBezTo>
                    <a:cubicBezTo>
                      <a:pt x="220" y="225"/>
                      <a:pt x="228" y="228"/>
                      <a:pt x="228" y="228"/>
                    </a:cubicBezTo>
                    <a:cubicBezTo>
                      <a:pt x="236" y="227"/>
                      <a:pt x="245" y="228"/>
                      <a:pt x="252" y="224"/>
                    </a:cubicBezTo>
                    <a:cubicBezTo>
                      <a:pt x="269" y="216"/>
                      <a:pt x="252" y="204"/>
                      <a:pt x="276" y="196"/>
                    </a:cubicBezTo>
                    <a:cubicBezTo>
                      <a:pt x="296" y="209"/>
                      <a:pt x="322" y="231"/>
                      <a:pt x="336" y="252"/>
                    </a:cubicBezTo>
                    <a:cubicBezTo>
                      <a:pt x="354" y="280"/>
                      <a:pt x="343" y="273"/>
                      <a:pt x="364" y="280"/>
                    </a:cubicBezTo>
                    <a:cubicBezTo>
                      <a:pt x="376" y="262"/>
                      <a:pt x="375" y="241"/>
                      <a:pt x="360" y="224"/>
                    </a:cubicBezTo>
                    <a:cubicBezTo>
                      <a:pt x="352" y="216"/>
                      <a:pt x="336" y="200"/>
                      <a:pt x="336" y="200"/>
                    </a:cubicBezTo>
                    <a:cubicBezTo>
                      <a:pt x="323" y="162"/>
                      <a:pt x="322" y="174"/>
                      <a:pt x="372" y="168"/>
                    </a:cubicBezTo>
                    <a:cubicBezTo>
                      <a:pt x="384" y="164"/>
                      <a:pt x="396" y="160"/>
                      <a:pt x="408" y="156"/>
                    </a:cubicBezTo>
                    <a:cubicBezTo>
                      <a:pt x="412" y="155"/>
                      <a:pt x="420" y="152"/>
                      <a:pt x="420" y="152"/>
                    </a:cubicBezTo>
                    <a:cubicBezTo>
                      <a:pt x="421" y="148"/>
                      <a:pt x="426" y="144"/>
                      <a:pt x="424" y="140"/>
                    </a:cubicBezTo>
                    <a:cubicBezTo>
                      <a:pt x="420" y="131"/>
                      <a:pt x="365" y="146"/>
                      <a:pt x="356" y="148"/>
                    </a:cubicBezTo>
                    <a:cubicBezTo>
                      <a:pt x="339" y="146"/>
                      <a:pt x="316" y="152"/>
                      <a:pt x="304" y="140"/>
                    </a:cubicBezTo>
                    <a:cubicBezTo>
                      <a:pt x="301" y="137"/>
                      <a:pt x="302" y="132"/>
                      <a:pt x="300" y="128"/>
                    </a:cubicBezTo>
                    <a:cubicBezTo>
                      <a:pt x="298" y="124"/>
                      <a:pt x="296" y="119"/>
                      <a:pt x="292" y="116"/>
                    </a:cubicBezTo>
                    <a:cubicBezTo>
                      <a:pt x="272" y="98"/>
                      <a:pt x="244" y="91"/>
                      <a:pt x="220" y="80"/>
                    </a:cubicBezTo>
                    <a:cubicBezTo>
                      <a:pt x="201" y="72"/>
                      <a:pt x="180" y="67"/>
                      <a:pt x="160" y="60"/>
                    </a:cubicBezTo>
                    <a:cubicBezTo>
                      <a:pt x="152" y="57"/>
                      <a:pt x="136" y="52"/>
                      <a:pt x="136" y="52"/>
                    </a:cubicBezTo>
                    <a:cubicBezTo>
                      <a:pt x="113" y="55"/>
                      <a:pt x="98" y="64"/>
                      <a:pt x="80" y="52"/>
                    </a:cubicBezTo>
                    <a:cubicBezTo>
                      <a:pt x="70" y="38"/>
                      <a:pt x="74" y="44"/>
                      <a:pt x="68" y="32"/>
                    </a:cubicBezTo>
                    <a:lnTo>
                      <a:pt x="68" y="0"/>
                    </a:lnTo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4" name="未知"/>
              <p:cNvSpPr>
                <a:spLocks/>
              </p:cNvSpPr>
              <p:nvPr/>
            </p:nvSpPr>
            <p:spPr bwMode="auto">
              <a:xfrm>
                <a:off x="2035" y="1244"/>
                <a:ext cx="319" cy="210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0" y="37"/>
                  </a:cxn>
                  <a:cxn ang="0">
                    <a:pos x="28" y="49"/>
                  </a:cxn>
                  <a:cxn ang="0">
                    <a:pos x="84" y="89"/>
                  </a:cxn>
                  <a:cxn ang="0">
                    <a:pos x="120" y="113"/>
                  </a:cxn>
                  <a:cxn ang="0">
                    <a:pos x="132" y="121"/>
                  </a:cxn>
                  <a:cxn ang="0">
                    <a:pos x="136" y="169"/>
                  </a:cxn>
                  <a:cxn ang="0">
                    <a:pos x="116" y="201"/>
                  </a:cxn>
                  <a:cxn ang="0">
                    <a:pos x="136" y="197"/>
                  </a:cxn>
                  <a:cxn ang="0">
                    <a:pos x="148" y="189"/>
                  </a:cxn>
                  <a:cxn ang="0">
                    <a:pos x="160" y="201"/>
                  </a:cxn>
                  <a:cxn ang="0">
                    <a:pos x="184" y="217"/>
                  </a:cxn>
                  <a:cxn ang="0">
                    <a:pos x="208" y="233"/>
                  </a:cxn>
                  <a:cxn ang="0">
                    <a:pos x="240" y="221"/>
                  </a:cxn>
                  <a:cxn ang="0">
                    <a:pos x="248" y="197"/>
                  </a:cxn>
                  <a:cxn ang="0">
                    <a:pos x="268" y="201"/>
                  </a:cxn>
                  <a:cxn ang="0">
                    <a:pos x="292" y="209"/>
                  </a:cxn>
                  <a:cxn ang="0">
                    <a:pos x="340" y="281"/>
                  </a:cxn>
                  <a:cxn ang="0">
                    <a:pos x="356" y="277"/>
                  </a:cxn>
                  <a:cxn ang="0">
                    <a:pos x="352" y="253"/>
                  </a:cxn>
                  <a:cxn ang="0">
                    <a:pos x="316" y="197"/>
                  </a:cxn>
                  <a:cxn ang="0">
                    <a:pos x="360" y="173"/>
                  </a:cxn>
                  <a:cxn ang="0">
                    <a:pos x="408" y="145"/>
                  </a:cxn>
                  <a:cxn ang="0">
                    <a:pos x="409" y="120"/>
                  </a:cxn>
                  <a:cxn ang="0">
                    <a:pos x="367" y="138"/>
                  </a:cxn>
                  <a:cxn ang="0">
                    <a:pos x="308" y="137"/>
                  </a:cxn>
                  <a:cxn ang="0">
                    <a:pos x="264" y="97"/>
                  </a:cxn>
                  <a:cxn ang="0">
                    <a:pos x="180" y="61"/>
                  </a:cxn>
                  <a:cxn ang="0">
                    <a:pos x="132" y="33"/>
                  </a:cxn>
                  <a:cxn ang="0">
                    <a:pos x="92" y="41"/>
                  </a:cxn>
                  <a:cxn ang="0">
                    <a:pos x="76" y="57"/>
                  </a:cxn>
                  <a:cxn ang="0">
                    <a:pos x="56" y="17"/>
                  </a:cxn>
                  <a:cxn ang="0">
                    <a:pos x="0" y="1"/>
                  </a:cxn>
                </a:cxnLst>
                <a:rect l="0" t="0" r="r" b="b"/>
                <a:pathLst>
                  <a:path w="416" h="282">
                    <a:moveTo>
                      <a:pt x="0" y="1"/>
                    </a:moveTo>
                    <a:cubicBezTo>
                      <a:pt x="7" y="22"/>
                      <a:pt x="2" y="9"/>
                      <a:pt x="20" y="37"/>
                    </a:cubicBezTo>
                    <a:cubicBezTo>
                      <a:pt x="23" y="41"/>
                      <a:pt x="28" y="49"/>
                      <a:pt x="28" y="49"/>
                    </a:cubicBezTo>
                    <a:cubicBezTo>
                      <a:pt x="5" y="84"/>
                      <a:pt x="65" y="78"/>
                      <a:pt x="84" y="89"/>
                    </a:cubicBezTo>
                    <a:cubicBezTo>
                      <a:pt x="97" y="96"/>
                      <a:pt x="108" y="105"/>
                      <a:pt x="120" y="113"/>
                    </a:cubicBezTo>
                    <a:cubicBezTo>
                      <a:pt x="124" y="116"/>
                      <a:pt x="132" y="121"/>
                      <a:pt x="132" y="121"/>
                    </a:cubicBezTo>
                    <a:cubicBezTo>
                      <a:pt x="138" y="138"/>
                      <a:pt x="132" y="151"/>
                      <a:pt x="136" y="169"/>
                    </a:cubicBezTo>
                    <a:cubicBezTo>
                      <a:pt x="107" y="188"/>
                      <a:pt x="110" y="176"/>
                      <a:pt x="116" y="201"/>
                    </a:cubicBezTo>
                    <a:cubicBezTo>
                      <a:pt x="123" y="200"/>
                      <a:pt x="130" y="199"/>
                      <a:pt x="136" y="197"/>
                    </a:cubicBezTo>
                    <a:cubicBezTo>
                      <a:pt x="141" y="195"/>
                      <a:pt x="143" y="188"/>
                      <a:pt x="148" y="189"/>
                    </a:cubicBezTo>
                    <a:cubicBezTo>
                      <a:pt x="154" y="190"/>
                      <a:pt x="156" y="198"/>
                      <a:pt x="160" y="201"/>
                    </a:cubicBezTo>
                    <a:cubicBezTo>
                      <a:pt x="168" y="207"/>
                      <a:pt x="176" y="212"/>
                      <a:pt x="184" y="217"/>
                    </a:cubicBezTo>
                    <a:cubicBezTo>
                      <a:pt x="192" y="222"/>
                      <a:pt x="208" y="233"/>
                      <a:pt x="208" y="233"/>
                    </a:cubicBezTo>
                    <a:cubicBezTo>
                      <a:pt x="216" y="231"/>
                      <a:pt x="234" y="230"/>
                      <a:pt x="240" y="221"/>
                    </a:cubicBezTo>
                    <a:cubicBezTo>
                      <a:pt x="244" y="214"/>
                      <a:pt x="248" y="197"/>
                      <a:pt x="248" y="197"/>
                    </a:cubicBezTo>
                    <a:cubicBezTo>
                      <a:pt x="255" y="198"/>
                      <a:pt x="261" y="199"/>
                      <a:pt x="268" y="201"/>
                    </a:cubicBezTo>
                    <a:cubicBezTo>
                      <a:pt x="276" y="203"/>
                      <a:pt x="292" y="209"/>
                      <a:pt x="292" y="209"/>
                    </a:cubicBezTo>
                    <a:cubicBezTo>
                      <a:pt x="298" y="242"/>
                      <a:pt x="306" y="270"/>
                      <a:pt x="340" y="281"/>
                    </a:cubicBezTo>
                    <a:cubicBezTo>
                      <a:pt x="345" y="280"/>
                      <a:pt x="354" y="282"/>
                      <a:pt x="356" y="277"/>
                    </a:cubicBezTo>
                    <a:cubicBezTo>
                      <a:pt x="359" y="270"/>
                      <a:pt x="355" y="260"/>
                      <a:pt x="352" y="253"/>
                    </a:cubicBezTo>
                    <a:cubicBezTo>
                      <a:pt x="346" y="238"/>
                      <a:pt x="329" y="206"/>
                      <a:pt x="316" y="197"/>
                    </a:cubicBezTo>
                    <a:cubicBezTo>
                      <a:pt x="307" y="170"/>
                      <a:pt x="339" y="175"/>
                      <a:pt x="360" y="173"/>
                    </a:cubicBezTo>
                    <a:cubicBezTo>
                      <a:pt x="383" y="165"/>
                      <a:pt x="391" y="162"/>
                      <a:pt x="408" y="145"/>
                    </a:cubicBezTo>
                    <a:cubicBezTo>
                      <a:pt x="412" y="140"/>
                      <a:pt x="416" y="121"/>
                      <a:pt x="409" y="120"/>
                    </a:cubicBezTo>
                    <a:cubicBezTo>
                      <a:pt x="402" y="119"/>
                      <a:pt x="384" y="135"/>
                      <a:pt x="367" y="138"/>
                    </a:cubicBezTo>
                    <a:cubicBezTo>
                      <a:pt x="350" y="141"/>
                      <a:pt x="325" y="144"/>
                      <a:pt x="308" y="137"/>
                    </a:cubicBezTo>
                    <a:cubicBezTo>
                      <a:pt x="286" y="130"/>
                      <a:pt x="284" y="111"/>
                      <a:pt x="264" y="97"/>
                    </a:cubicBezTo>
                    <a:cubicBezTo>
                      <a:pt x="238" y="80"/>
                      <a:pt x="203" y="76"/>
                      <a:pt x="180" y="61"/>
                    </a:cubicBezTo>
                    <a:cubicBezTo>
                      <a:pt x="163" y="50"/>
                      <a:pt x="150" y="39"/>
                      <a:pt x="132" y="33"/>
                    </a:cubicBezTo>
                    <a:cubicBezTo>
                      <a:pt x="119" y="35"/>
                      <a:pt x="102" y="31"/>
                      <a:pt x="92" y="41"/>
                    </a:cubicBezTo>
                    <a:cubicBezTo>
                      <a:pt x="71" y="62"/>
                      <a:pt x="108" y="46"/>
                      <a:pt x="76" y="57"/>
                    </a:cubicBezTo>
                    <a:cubicBezTo>
                      <a:pt x="52" y="49"/>
                      <a:pt x="67" y="38"/>
                      <a:pt x="56" y="17"/>
                    </a:cubicBezTo>
                    <a:cubicBezTo>
                      <a:pt x="48" y="0"/>
                      <a:pt x="16" y="1"/>
                      <a:pt x="0" y="1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5" name="未知"/>
              <p:cNvSpPr>
                <a:spLocks/>
              </p:cNvSpPr>
              <p:nvPr/>
            </p:nvSpPr>
            <p:spPr bwMode="auto">
              <a:xfrm>
                <a:off x="2271" y="2011"/>
                <a:ext cx="46" cy="58"/>
              </a:xfrm>
              <a:custGeom>
                <a:avLst/>
                <a:gdLst/>
                <a:ahLst/>
                <a:cxnLst>
                  <a:cxn ang="0">
                    <a:pos x="32" y="18"/>
                  </a:cxn>
                  <a:cxn ang="0">
                    <a:pos x="0" y="18"/>
                  </a:cxn>
                  <a:cxn ang="0">
                    <a:pos x="20" y="42"/>
                  </a:cxn>
                  <a:cxn ang="0">
                    <a:pos x="28" y="66"/>
                  </a:cxn>
                  <a:cxn ang="0">
                    <a:pos x="32" y="78"/>
                  </a:cxn>
                  <a:cxn ang="0">
                    <a:pos x="60" y="50"/>
                  </a:cxn>
                  <a:cxn ang="0">
                    <a:pos x="32" y="18"/>
                  </a:cxn>
                </a:cxnLst>
                <a:rect l="0" t="0" r="r" b="b"/>
                <a:pathLst>
                  <a:path w="60" h="78">
                    <a:moveTo>
                      <a:pt x="32" y="18"/>
                    </a:moveTo>
                    <a:cubicBezTo>
                      <a:pt x="16" y="7"/>
                      <a:pt x="12" y="0"/>
                      <a:pt x="0" y="18"/>
                    </a:cubicBezTo>
                    <a:cubicBezTo>
                      <a:pt x="6" y="27"/>
                      <a:pt x="15" y="33"/>
                      <a:pt x="20" y="42"/>
                    </a:cubicBezTo>
                    <a:cubicBezTo>
                      <a:pt x="24" y="49"/>
                      <a:pt x="25" y="58"/>
                      <a:pt x="28" y="66"/>
                    </a:cubicBezTo>
                    <a:cubicBezTo>
                      <a:pt x="29" y="70"/>
                      <a:pt x="32" y="78"/>
                      <a:pt x="32" y="78"/>
                    </a:cubicBezTo>
                    <a:cubicBezTo>
                      <a:pt x="52" y="73"/>
                      <a:pt x="54" y="69"/>
                      <a:pt x="60" y="50"/>
                    </a:cubicBezTo>
                    <a:cubicBezTo>
                      <a:pt x="54" y="32"/>
                      <a:pt x="50" y="27"/>
                      <a:pt x="32" y="18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6" name="未知"/>
              <p:cNvSpPr>
                <a:spLocks/>
              </p:cNvSpPr>
              <p:nvPr/>
            </p:nvSpPr>
            <p:spPr bwMode="auto">
              <a:xfrm>
                <a:off x="2410" y="1922"/>
                <a:ext cx="168" cy="84"/>
              </a:xfrm>
              <a:custGeom>
                <a:avLst/>
                <a:gdLst/>
                <a:ahLst/>
                <a:cxnLst>
                  <a:cxn ang="0">
                    <a:pos x="47" y="73"/>
                  </a:cxn>
                  <a:cxn ang="0">
                    <a:pos x="39" y="61"/>
                  </a:cxn>
                  <a:cxn ang="0">
                    <a:pos x="15" y="69"/>
                  </a:cxn>
                  <a:cxn ang="0">
                    <a:pos x="39" y="113"/>
                  </a:cxn>
                  <a:cxn ang="0">
                    <a:pos x="123" y="89"/>
                  </a:cxn>
                  <a:cxn ang="0">
                    <a:pos x="147" y="73"/>
                  </a:cxn>
                  <a:cxn ang="0">
                    <a:pos x="171" y="65"/>
                  </a:cxn>
                  <a:cxn ang="0">
                    <a:pos x="219" y="19"/>
                  </a:cxn>
                  <a:cxn ang="0">
                    <a:pos x="210" y="0"/>
                  </a:cxn>
                  <a:cxn ang="0">
                    <a:pos x="179" y="17"/>
                  </a:cxn>
                  <a:cxn ang="0">
                    <a:pos x="107" y="41"/>
                  </a:cxn>
                  <a:cxn ang="0">
                    <a:pos x="83" y="45"/>
                  </a:cxn>
                  <a:cxn ang="0">
                    <a:pos x="59" y="53"/>
                  </a:cxn>
                  <a:cxn ang="0">
                    <a:pos x="47" y="73"/>
                  </a:cxn>
                </a:cxnLst>
                <a:rect l="0" t="0" r="r" b="b"/>
                <a:pathLst>
                  <a:path w="219" h="113">
                    <a:moveTo>
                      <a:pt x="47" y="73"/>
                    </a:moveTo>
                    <a:cubicBezTo>
                      <a:pt x="44" y="69"/>
                      <a:pt x="44" y="62"/>
                      <a:pt x="39" y="61"/>
                    </a:cubicBezTo>
                    <a:cubicBezTo>
                      <a:pt x="31" y="60"/>
                      <a:pt x="15" y="69"/>
                      <a:pt x="15" y="69"/>
                    </a:cubicBezTo>
                    <a:cubicBezTo>
                      <a:pt x="0" y="91"/>
                      <a:pt x="20" y="101"/>
                      <a:pt x="39" y="113"/>
                    </a:cubicBezTo>
                    <a:cubicBezTo>
                      <a:pt x="67" y="107"/>
                      <a:pt x="96" y="98"/>
                      <a:pt x="123" y="89"/>
                    </a:cubicBezTo>
                    <a:cubicBezTo>
                      <a:pt x="132" y="86"/>
                      <a:pt x="139" y="78"/>
                      <a:pt x="147" y="73"/>
                    </a:cubicBezTo>
                    <a:cubicBezTo>
                      <a:pt x="154" y="68"/>
                      <a:pt x="171" y="65"/>
                      <a:pt x="171" y="65"/>
                    </a:cubicBezTo>
                    <a:cubicBezTo>
                      <a:pt x="186" y="50"/>
                      <a:pt x="207" y="36"/>
                      <a:pt x="219" y="19"/>
                    </a:cubicBezTo>
                    <a:cubicBezTo>
                      <a:pt x="215" y="16"/>
                      <a:pt x="215" y="0"/>
                      <a:pt x="210" y="0"/>
                    </a:cubicBezTo>
                    <a:cubicBezTo>
                      <a:pt x="205" y="0"/>
                      <a:pt x="183" y="15"/>
                      <a:pt x="179" y="17"/>
                    </a:cubicBezTo>
                    <a:cubicBezTo>
                      <a:pt x="159" y="26"/>
                      <a:pt x="129" y="37"/>
                      <a:pt x="107" y="41"/>
                    </a:cubicBezTo>
                    <a:cubicBezTo>
                      <a:pt x="99" y="42"/>
                      <a:pt x="91" y="43"/>
                      <a:pt x="83" y="45"/>
                    </a:cubicBezTo>
                    <a:cubicBezTo>
                      <a:pt x="75" y="47"/>
                      <a:pt x="59" y="53"/>
                      <a:pt x="59" y="53"/>
                    </a:cubicBezTo>
                    <a:cubicBezTo>
                      <a:pt x="49" y="67"/>
                      <a:pt x="53" y="61"/>
                      <a:pt x="47" y="73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7" name="未知"/>
              <p:cNvSpPr>
                <a:spLocks/>
              </p:cNvSpPr>
              <p:nvPr/>
            </p:nvSpPr>
            <p:spPr bwMode="auto">
              <a:xfrm>
                <a:off x="2584" y="1872"/>
                <a:ext cx="107" cy="91"/>
              </a:xfrm>
              <a:custGeom>
                <a:avLst/>
                <a:gdLst/>
                <a:ahLst/>
                <a:cxnLst>
                  <a:cxn ang="0">
                    <a:pos x="12" y="60"/>
                  </a:cxn>
                  <a:cxn ang="0">
                    <a:pos x="8" y="84"/>
                  </a:cxn>
                  <a:cxn ang="0">
                    <a:pos x="0" y="108"/>
                  </a:cxn>
                  <a:cxn ang="0">
                    <a:pos x="36" y="116"/>
                  </a:cxn>
                  <a:cxn ang="0">
                    <a:pos x="52" y="96"/>
                  </a:cxn>
                  <a:cxn ang="0">
                    <a:pos x="124" y="68"/>
                  </a:cxn>
                  <a:cxn ang="0">
                    <a:pos x="136" y="44"/>
                  </a:cxn>
                  <a:cxn ang="0">
                    <a:pos x="112" y="28"/>
                  </a:cxn>
                  <a:cxn ang="0">
                    <a:pos x="100" y="20"/>
                  </a:cxn>
                  <a:cxn ang="0">
                    <a:pos x="64" y="12"/>
                  </a:cxn>
                  <a:cxn ang="0">
                    <a:pos x="52" y="36"/>
                  </a:cxn>
                  <a:cxn ang="0">
                    <a:pos x="12" y="60"/>
                  </a:cxn>
                </a:cxnLst>
                <a:rect l="0" t="0" r="r" b="b"/>
                <a:pathLst>
                  <a:path w="139" h="122">
                    <a:moveTo>
                      <a:pt x="12" y="60"/>
                    </a:moveTo>
                    <a:cubicBezTo>
                      <a:pt x="11" y="68"/>
                      <a:pt x="10" y="76"/>
                      <a:pt x="8" y="84"/>
                    </a:cubicBezTo>
                    <a:cubicBezTo>
                      <a:pt x="6" y="92"/>
                      <a:pt x="0" y="108"/>
                      <a:pt x="0" y="108"/>
                    </a:cubicBezTo>
                    <a:cubicBezTo>
                      <a:pt x="14" y="118"/>
                      <a:pt x="19" y="122"/>
                      <a:pt x="36" y="116"/>
                    </a:cubicBezTo>
                    <a:cubicBezTo>
                      <a:pt x="46" y="86"/>
                      <a:pt x="31" y="122"/>
                      <a:pt x="52" y="96"/>
                    </a:cubicBezTo>
                    <a:cubicBezTo>
                      <a:pt x="83" y="57"/>
                      <a:pt x="30" y="74"/>
                      <a:pt x="124" y="68"/>
                    </a:cubicBezTo>
                    <a:cubicBezTo>
                      <a:pt x="125" y="67"/>
                      <a:pt x="139" y="48"/>
                      <a:pt x="136" y="44"/>
                    </a:cubicBezTo>
                    <a:cubicBezTo>
                      <a:pt x="130" y="36"/>
                      <a:pt x="120" y="33"/>
                      <a:pt x="112" y="28"/>
                    </a:cubicBezTo>
                    <a:cubicBezTo>
                      <a:pt x="108" y="25"/>
                      <a:pt x="100" y="20"/>
                      <a:pt x="100" y="20"/>
                    </a:cubicBezTo>
                    <a:cubicBezTo>
                      <a:pt x="89" y="4"/>
                      <a:pt x="92" y="0"/>
                      <a:pt x="64" y="12"/>
                    </a:cubicBezTo>
                    <a:cubicBezTo>
                      <a:pt x="57" y="15"/>
                      <a:pt x="55" y="30"/>
                      <a:pt x="52" y="36"/>
                    </a:cubicBezTo>
                    <a:cubicBezTo>
                      <a:pt x="46" y="49"/>
                      <a:pt x="26" y="60"/>
                      <a:pt x="12" y="6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8" name="未知"/>
              <p:cNvSpPr>
                <a:spLocks/>
              </p:cNvSpPr>
              <p:nvPr/>
            </p:nvSpPr>
            <p:spPr bwMode="auto">
              <a:xfrm>
                <a:off x="2641" y="1831"/>
                <a:ext cx="38" cy="26"/>
              </a:xfrm>
              <a:custGeom>
                <a:avLst/>
                <a:gdLst/>
                <a:ahLst/>
                <a:cxnLst>
                  <a:cxn ang="0">
                    <a:pos x="29" y="0"/>
                  </a:cxn>
                  <a:cxn ang="0">
                    <a:pos x="8" y="11"/>
                  </a:cxn>
                  <a:cxn ang="0">
                    <a:pos x="24" y="35"/>
                  </a:cxn>
                  <a:cxn ang="0">
                    <a:pos x="39" y="26"/>
                  </a:cxn>
                  <a:cxn ang="0">
                    <a:pos x="29" y="0"/>
                  </a:cxn>
                </a:cxnLst>
                <a:rect l="0" t="0" r="r" b="b"/>
                <a:pathLst>
                  <a:path w="49" h="35">
                    <a:moveTo>
                      <a:pt x="29" y="0"/>
                    </a:moveTo>
                    <a:cubicBezTo>
                      <a:pt x="25" y="12"/>
                      <a:pt x="19" y="7"/>
                      <a:pt x="8" y="11"/>
                    </a:cubicBezTo>
                    <a:cubicBezTo>
                      <a:pt x="0" y="23"/>
                      <a:pt x="14" y="34"/>
                      <a:pt x="24" y="35"/>
                    </a:cubicBezTo>
                    <a:cubicBezTo>
                      <a:pt x="30" y="34"/>
                      <a:pt x="33" y="28"/>
                      <a:pt x="39" y="26"/>
                    </a:cubicBezTo>
                    <a:cubicBezTo>
                      <a:pt x="49" y="22"/>
                      <a:pt x="29" y="3"/>
                      <a:pt x="29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59" name="未知"/>
              <p:cNvSpPr>
                <a:spLocks/>
              </p:cNvSpPr>
              <p:nvPr/>
            </p:nvSpPr>
            <p:spPr bwMode="auto">
              <a:xfrm>
                <a:off x="908" y="1354"/>
                <a:ext cx="126" cy="200"/>
              </a:xfrm>
              <a:custGeom>
                <a:avLst/>
                <a:gdLst/>
                <a:ahLst/>
                <a:cxnLst>
                  <a:cxn ang="0">
                    <a:pos x="128" y="0"/>
                  </a:cxn>
                  <a:cxn ang="0">
                    <a:pos x="104" y="28"/>
                  </a:cxn>
                  <a:cxn ang="0">
                    <a:pos x="88" y="64"/>
                  </a:cxn>
                  <a:cxn ang="0">
                    <a:pos x="36" y="84"/>
                  </a:cxn>
                  <a:cxn ang="0">
                    <a:pos x="28" y="96"/>
                  </a:cxn>
                  <a:cxn ang="0">
                    <a:pos x="16" y="100"/>
                  </a:cxn>
                  <a:cxn ang="0">
                    <a:pos x="20" y="132"/>
                  </a:cxn>
                  <a:cxn ang="0">
                    <a:pos x="28" y="156"/>
                  </a:cxn>
                  <a:cxn ang="0">
                    <a:pos x="0" y="200"/>
                  </a:cxn>
                  <a:cxn ang="0">
                    <a:pos x="28" y="260"/>
                  </a:cxn>
                  <a:cxn ang="0">
                    <a:pos x="52" y="268"/>
                  </a:cxn>
                  <a:cxn ang="0">
                    <a:pos x="88" y="216"/>
                  </a:cxn>
                  <a:cxn ang="0">
                    <a:pos x="104" y="192"/>
                  </a:cxn>
                  <a:cxn ang="0">
                    <a:pos x="128" y="116"/>
                  </a:cxn>
                  <a:cxn ang="0">
                    <a:pos x="140" y="76"/>
                  </a:cxn>
                  <a:cxn ang="0">
                    <a:pos x="164" y="72"/>
                  </a:cxn>
                  <a:cxn ang="0">
                    <a:pos x="128" y="0"/>
                  </a:cxn>
                </a:cxnLst>
                <a:rect l="0" t="0" r="r" b="b"/>
                <a:pathLst>
                  <a:path w="164" h="268">
                    <a:moveTo>
                      <a:pt x="128" y="0"/>
                    </a:moveTo>
                    <a:cubicBezTo>
                      <a:pt x="123" y="16"/>
                      <a:pt x="120" y="23"/>
                      <a:pt x="104" y="28"/>
                    </a:cubicBezTo>
                    <a:cubicBezTo>
                      <a:pt x="102" y="35"/>
                      <a:pt x="97" y="57"/>
                      <a:pt x="88" y="64"/>
                    </a:cubicBezTo>
                    <a:cubicBezTo>
                      <a:pt x="75" y="75"/>
                      <a:pt x="51" y="74"/>
                      <a:pt x="36" y="84"/>
                    </a:cubicBezTo>
                    <a:cubicBezTo>
                      <a:pt x="33" y="88"/>
                      <a:pt x="32" y="93"/>
                      <a:pt x="28" y="96"/>
                    </a:cubicBezTo>
                    <a:cubicBezTo>
                      <a:pt x="25" y="99"/>
                      <a:pt x="17" y="96"/>
                      <a:pt x="16" y="100"/>
                    </a:cubicBezTo>
                    <a:cubicBezTo>
                      <a:pt x="14" y="110"/>
                      <a:pt x="18" y="121"/>
                      <a:pt x="20" y="132"/>
                    </a:cubicBezTo>
                    <a:cubicBezTo>
                      <a:pt x="22" y="140"/>
                      <a:pt x="28" y="156"/>
                      <a:pt x="28" y="156"/>
                    </a:cubicBezTo>
                    <a:cubicBezTo>
                      <a:pt x="13" y="166"/>
                      <a:pt x="6" y="183"/>
                      <a:pt x="0" y="200"/>
                    </a:cubicBezTo>
                    <a:cubicBezTo>
                      <a:pt x="3" y="210"/>
                      <a:pt x="19" y="254"/>
                      <a:pt x="28" y="260"/>
                    </a:cubicBezTo>
                    <a:cubicBezTo>
                      <a:pt x="35" y="264"/>
                      <a:pt x="52" y="268"/>
                      <a:pt x="52" y="268"/>
                    </a:cubicBezTo>
                    <a:cubicBezTo>
                      <a:pt x="85" y="261"/>
                      <a:pt x="79" y="244"/>
                      <a:pt x="88" y="216"/>
                    </a:cubicBezTo>
                    <a:cubicBezTo>
                      <a:pt x="91" y="207"/>
                      <a:pt x="99" y="200"/>
                      <a:pt x="104" y="192"/>
                    </a:cubicBezTo>
                    <a:cubicBezTo>
                      <a:pt x="116" y="174"/>
                      <a:pt x="121" y="136"/>
                      <a:pt x="128" y="116"/>
                    </a:cubicBezTo>
                    <a:cubicBezTo>
                      <a:pt x="131" y="108"/>
                      <a:pt x="134" y="79"/>
                      <a:pt x="140" y="76"/>
                    </a:cubicBezTo>
                    <a:cubicBezTo>
                      <a:pt x="147" y="72"/>
                      <a:pt x="156" y="73"/>
                      <a:pt x="164" y="72"/>
                    </a:cubicBezTo>
                    <a:cubicBezTo>
                      <a:pt x="158" y="19"/>
                      <a:pt x="161" y="33"/>
                      <a:pt x="128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60" name="未知"/>
              <p:cNvSpPr>
                <a:spLocks/>
              </p:cNvSpPr>
              <p:nvPr/>
            </p:nvSpPr>
            <p:spPr bwMode="auto">
              <a:xfrm>
                <a:off x="1453" y="1043"/>
                <a:ext cx="50" cy="61"/>
              </a:xfrm>
              <a:custGeom>
                <a:avLst/>
                <a:gdLst/>
                <a:ahLst/>
                <a:cxnLst>
                  <a:cxn ang="0">
                    <a:pos x="29" y="0"/>
                  </a:cxn>
                  <a:cxn ang="0">
                    <a:pos x="25" y="60"/>
                  </a:cxn>
                  <a:cxn ang="0">
                    <a:pos x="29" y="76"/>
                  </a:cxn>
                  <a:cxn ang="0">
                    <a:pos x="41" y="80"/>
                  </a:cxn>
                  <a:cxn ang="0">
                    <a:pos x="57" y="76"/>
                  </a:cxn>
                  <a:cxn ang="0">
                    <a:pos x="29" y="0"/>
                  </a:cxn>
                </a:cxnLst>
                <a:rect l="0" t="0" r="r" b="b"/>
                <a:pathLst>
                  <a:path w="66" h="81">
                    <a:moveTo>
                      <a:pt x="29" y="0"/>
                    </a:moveTo>
                    <a:cubicBezTo>
                      <a:pt x="0" y="10"/>
                      <a:pt x="20" y="38"/>
                      <a:pt x="25" y="60"/>
                    </a:cubicBezTo>
                    <a:cubicBezTo>
                      <a:pt x="26" y="65"/>
                      <a:pt x="26" y="72"/>
                      <a:pt x="29" y="76"/>
                    </a:cubicBezTo>
                    <a:cubicBezTo>
                      <a:pt x="32" y="79"/>
                      <a:pt x="37" y="79"/>
                      <a:pt x="41" y="80"/>
                    </a:cubicBezTo>
                    <a:cubicBezTo>
                      <a:pt x="46" y="79"/>
                      <a:pt x="55" y="81"/>
                      <a:pt x="57" y="76"/>
                    </a:cubicBezTo>
                    <a:cubicBezTo>
                      <a:pt x="66" y="53"/>
                      <a:pt x="45" y="16"/>
                      <a:pt x="29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61" name="未知"/>
              <p:cNvSpPr>
                <a:spLocks/>
              </p:cNvSpPr>
              <p:nvPr/>
            </p:nvSpPr>
            <p:spPr bwMode="auto">
              <a:xfrm>
                <a:off x="1761" y="1102"/>
                <a:ext cx="114" cy="182"/>
              </a:xfrm>
              <a:custGeom>
                <a:avLst/>
                <a:gdLst/>
                <a:ahLst/>
                <a:cxnLst>
                  <a:cxn ang="0">
                    <a:pos x="96" y="0"/>
                  </a:cxn>
                  <a:cxn ang="0">
                    <a:pos x="60" y="84"/>
                  </a:cxn>
                  <a:cxn ang="0">
                    <a:pos x="36" y="92"/>
                  </a:cxn>
                  <a:cxn ang="0">
                    <a:pos x="12" y="108"/>
                  </a:cxn>
                  <a:cxn ang="0">
                    <a:pos x="40" y="188"/>
                  </a:cxn>
                  <a:cxn ang="0">
                    <a:pos x="52" y="224"/>
                  </a:cxn>
                  <a:cxn ang="0">
                    <a:pos x="60" y="236"/>
                  </a:cxn>
                  <a:cxn ang="0">
                    <a:pos x="84" y="244"/>
                  </a:cxn>
                  <a:cxn ang="0">
                    <a:pos x="96" y="196"/>
                  </a:cxn>
                  <a:cxn ang="0">
                    <a:pos x="124" y="168"/>
                  </a:cxn>
                  <a:cxn ang="0">
                    <a:pos x="112" y="68"/>
                  </a:cxn>
                  <a:cxn ang="0">
                    <a:pos x="140" y="48"/>
                  </a:cxn>
                  <a:cxn ang="0">
                    <a:pos x="112" y="20"/>
                  </a:cxn>
                  <a:cxn ang="0">
                    <a:pos x="96" y="0"/>
                  </a:cxn>
                </a:cxnLst>
                <a:rect l="0" t="0" r="r" b="b"/>
                <a:pathLst>
                  <a:path w="148" h="244">
                    <a:moveTo>
                      <a:pt x="96" y="0"/>
                    </a:moveTo>
                    <a:cubicBezTo>
                      <a:pt x="86" y="29"/>
                      <a:pt x="70" y="55"/>
                      <a:pt x="60" y="84"/>
                    </a:cubicBezTo>
                    <a:cubicBezTo>
                      <a:pt x="57" y="92"/>
                      <a:pt x="43" y="87"/>
                      <a:pt x="36" y="92"/>
                    </a:cubicBezTo>
                    <a:cubicBezTo>
                      <a:pt x="28" y="97"/>
                      <a:pt x="12" y="108"/>
                      <a:pt x="12" y="108"/>
                    </a:cubicBezTo>
                    <a:cubicBezTo>
                      <a:pt x="0" y="144"/>
                      <a:pt x="30" y="158"/>
                      <a:pt x="40" y="188"/>
                    </a:cubicBezTo>
                    <a:cubicBezTo>
                      <a:pt x="44" y="200"/>
                      <a:pt x="45" y="213"/>
                      <a:pt x="52" y="224"/>
                    </a:cubicBezTo>
                    <a:cubicBezTo>
                      <a:pt x="55" y="228"/>
                      <a:pt x="56" y="233"/>
                      <a:pt x="60" y="236"/>
                    </a:cubicBezTo>
                    <a:cubicBezTo>
                      <a:pt x="67" y="240"/>
                      <a:pt x="84" y="244"/>
                      <a:pt x="84" y="244"/>
                    </a:cubicBezTo>
                    <a:cubicBezTo>
                      <a:pt x="111" y="235"/>
                      <a:pt x="103" y="218"/>
                      <a:pt x="96" y="196"/>
                    </a:cubicBezTo>
                    <a:cubicBezTo>
                      <a:pt x="100" y="183"/>
                      <a:pt x="124" y="168"/>
                      <a:pt x="124" y="168"/>
                    </a:cubicBezTo>
                    <a:cubicBezTo>
                      <a:pt x="148" y="132"/>
                      <a:pt x="123" y="101"/>
                      <a:pt x="112" y="68"/>
                    </a:cubicBezTo>
                    <a:cubicBezTo>
                      <a:pt x="140" y="59"/>
                      <a:pt x="133" y="68"/>
                      <a:pt x="140" y="48"/>
                    </a:cubicBezTo>
                    <a:cubicBezTo>
                      <a:pt x="136" y="35"/>
                      <a:pt x="112" y="20"/>
                      <a:pt x="112" y="20"/>
                    </a:cubicBezTo>
                    <a:cubicBezTo>
                      <a:pt x="102" y="5"/>
                      <a:pt x="107" y="11"/>
                      <a:pt x="96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62" name="未知"/>
              <p:cNvSpPr>
                <a:spLocks/>
              </p:cNvSpPr>
              <p:nvPr/>
            </p:nvSpPr>
            <p:spPr bwMode="auto">
              <a:xfrm>
                <a:off x="1665" y="1045"/>
                <a:ext cx="74" cy="136"/>
              </a:xfrm>
              <a:custGeom>
                <a:avLst/>
                <a:gdLst/>
                <a:ahLst/>
                <a:cxnLst>
                  <a:cxn ang="0">
                    <a:pos x="48" y="2"/>
                  </a:cxn>
                  <a:cxn ang="0">
                    <a:pos x="51" y="35"/>
                  </a:cxn>
                  <a:cxn ang="0">
                    <a:pos x="60" y="62"/>
                  </a:cxn>
                  <a:cxn ang="0">
                    <a:pos x="62" y="92"/>
                  </a:cxn>
                  <a:cxn ang="0">
                    <a:pos x="68" y="105"/>
                  </a:cxn>
                  <a:cxn ang="0">
                    <a:pos x="71" y="126"/>
                  </a:cxn>
                  <a:cxn ang="0">
                    <a:pos x="57" y="93"/>
                  </a:cxn>
                  <a:cxn ang="0">
                    <a:pos x="35" y="78"/>
                  </a:cxn>
                  <a:cxn ang="0">
                    <a:pos x="5" y="83"/>
                  </a:cxn>
                  <a:cxn ang="0">
                    <a:pos x="8" y="102"/>
                  </a:cxn>
                  <a:cxn ang="0">
                    <a:pos x="41" y="114"/>
                  </a:cxn>
                  <a:cxn ang="0">
                    <a:pos x="57" y="135"/>
                  </a:cxn>
                  <a:cxn ang="0">
                    <a:pos x="71" y="135"/>
                  </a:cxn>
                  <a:cxn ang="0">
                    <a:pos x="78" y="150"/>
                  </a:cxn>
                  <a:cxn ang="0">
                    <a:pos x="96" y="179"/>
                  </a:cxn>
                  <a:cxn ang="0">
                    <a:pos x="81" y="126"/>
                  </a:cxn>
                  <a:cxn ang="0">
                    <a:pos x="80" y="93"/>
                  </a:cxn>
                  <a:cxn ang="0">
                    <a:pos x="71" y="63"/>
                  </a:cxn>
                  <a:cxn ang="0">
                    <a:pos x="63" y="41"/>
                  </a:cxn>
                  <a:cxn ang="0">
                    <a:pos x="57" y="20"/>
                  </a:cxn>
                  <a:cxn ang="0">
                    <a:pos x="48" y="2"/>
                  </a:cxn>
                </a:cxnLst>
                <a:rect l="0" t="0" r="r" b="b"/>
                <a:pathLst>
                  <a:path w="96" h="183">
                    <a:moveTo>
                      <a:pt x="48" y="2"/>
                    </a:moveTo>
                    <a:cubicBezTo>
                      <a:pt x="47" y="4"/>
                      <a:pt x="49" y="25"/>
                      <a:pt x="51" y="35"/>
                    </a:cubicBezTo>
                    <a:cubicBezTo>
                      <a:pt x="53" y="45"/>
                      <a:pt x="58" y="53"/>
                      <a:pt x="60" y="62"/>
                    </a:cubicBezTo>
                    <a:cubicBezTo>
                      <a:pt x="62" y="71"/>
                      <a:pt x="61" y="85"/>
                      <a:pt x="62" y="92"/>
                    </a:cubicBezTo>
                    <a:cubicBezTo>
                      <a:pt x="63" y="99"/>
                      <a:pt x="67" y="99"/>
                      <a:pt x="68" y="105"/>
                    </a:cubicBezTo>
                    <a:cubicBezTo>
                      <a:pt x="69" y="111"/>
                      <a:pt x="73" y="128"/>
                      <a:pt x="71" y="126"/>
                    </a:cubicBezTo>
                    <a:cubicBezTo>
                      <a:pt x="69" y="124"/>
                      <a:pt x="63" y="101"/>
                      <a:pt x="57" y="93"/>
                    </a:cubicBezTo>
                    <a:cubicBezTo>
                      <a:pt x="51" y="85"/>
                      <a:pt x="44" y="80"/>
                      <a:pt x="35" y="78"/>
                    </a:cubicBezTo>
                    <a:cubicBezTo>
                      <a:pt x="26" y="76"/>
                      <a:pt x="10" y="79"/>
                      <a:pt x="5" y="83"/>
                    </a:cubicBezTo>
                    <a:cubicBezTo>
                      <a:pt x="0" y="87"/>
                      <a:pt x="2" y="97"/>
                      <a:pt x="8" y="102"/>
                    </a:cubicBezTo>
                    <a:cubicBezTo>
                      <a:pt x="14" y="107"/>
                      <a:pt x="33" y="109"/>
                      <a:pt x="41" y="114"/>
                    </a:cubicBezTo>
                    <a:cubicBezTo>
                      <a:pt x="49" y="119"/>
                      <a:pt x="52" y="132"/>
                      <a:pt x="57" y="135"/>
                    </a:cubicBezTo>
                    <a:cubicBezTo>
                      <a:pt x="62" y="138"/>
                      <a:pt x="68" y="133"/>
                      <a:pt x="71" y="135"/>
                    </a:cubicBezTo>
                    <a:cubicBezTo>
                      <a:pt x="74" y="137"/>
                      <a:pt x="74" y="143"/>
                      <a:pt x="78" y="150"/>
                    </a:cubicBezTo>
                    <a:cubicBezTo>
                      <a:pt x="82" y="157"/>
                      <a:pt x="96" y="183"/>
                      <a:pt x="96" y="179"/>
                    </a:cubicBezTo>
                    <a:cubicBezTo>
                      <a:pt x="96" y="175"/>
                      <a:pt x="84" y="140"/>
                      <a:pt x="81" y="126"/>
                    </a:cubicBezTo>
                    <a:cubicBezTo>
                      <a:pt x="78" y="112"/>
                      <a:pt x="82" y="104"/>
                      <a:pt x="80" y="93"/>
                    </a:cubicBezTo>
                    <a:cubicBezTo>
                      <a:pt x="78" y="82"/>
                      <a:pt x="74" y="72"/>
                      <a:pt x="71" y="63"/>
                    </a:cubicBezTo>
                    <a:cubicBezTo>
                      <a:pt x="68" y="54"/>
                      <a:pt x="65" y="48"/>
                      <a:pt x="63" y="41"/>
                    </a:cubicBezTo>
                    <a:cubicBezTo>
                      <a:pt x="61" y="34"/>
                      <a:pt x="59" y="26"/>
                      <a:pt x="57" y="20"/>
                    </a:cubicBezTo>
                    <a:cubicBezTo>
                      <a:pt x="55" y="14"/>
                      <a:pt x="49" y="0"/>
                      <a:pt x="48" y="2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63" name="未知"/>
              <p:cNvSpPr>
                <a:spLocks/>
              </p:cNvSpPr>
              <p:nvPr/>
            </p:nvSpPr>
            <p:spPr bwMode="auto">
              <a:xfrm>
                <a:off x="1715" y="1154"/>
                <a:ext cx="41" cy="131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0" y="25"/>
                  </a:cxn>
                  <a:cxn ang="0">
                    <a:pos x="9" y="54"/>
                  </a:cxn>
                  <a:cxn ang="0">
                    <a:pos x="18" y="94"/>
                  </a:cxn>
                  <a:cxn ang="0">
                    <a:pos x="34" y="129"/>
                  </a:cxn>
                  <a:cxn ang="0">
                    <a:pos x="54" y="175"/>
                  </a:cxn>
                  <a:cxn ang="0">
                    <a:pos x="40" y="115"/>
                  </a:cxn>
                  <a:cxn ang="0">
                    <a:pos x="34" y="93"/>
                  </a:cxn>
                  <a:cxn ang="0">
                    <a:pos x="28" y="61"/>
                  </a:cxn>
                  <a:cxn ang="0">
                    <a:pos x="25" y="46"/>
                  </a:cxn>
                  <a:cxn ang="0">
                    <a:pos x="16" y="37"/>
                  </a:cxn>
                  <a:cxn ang="0">
                    <a:pos x="6" y="0"/>
                  </a:cxn>
                </a:cxnLst>
                <a:rect l="0" t="0" r="r" b="b"/>
                <a:pathLst>
                  <a:path w="54" h="175">
                    <a:moveTo>
                      <a:pt x="6" y="0"/>
                    </a:moveTo>
                    <a:lnTo>
                      <a:pt x="0" y="25"/>
                    </a:lnTo>
                    <a:cubicBezTo>
                      <a:pt x="3" y="48"/>
                      <a:pt x="3" y="40"/>
                      <a:pt x="9" y="54"/>
                    </a:cubicBezTo>
                    <a:cubicBezTo>
                      <a:pt x="10" y="66"/>
                      <a:pt x="12" y="83"/>
                      <a:pt x="18" y="94"/>
                    </a:cubicBezTo>
                    <a:cubicBezTo>
                      <a:pt x="21" y="109"/>
                      <a:pt x="25" y="117"/>
                      <a:pt x="34" y="129"/>
                    </a:cubicBezTo>
                    <a:cubicBezTo>
                      <a:pt x="35" y="143"/>
                      <a:pt x="35" y="171"/>
                      <a:pt x="54" y="175"/>
                    </a:cubicBezTo>
                    <a:cubicBezTo>
                      <a:pt x="52" y="133"/>
                      <a:pt x="53" y="141"/>
                      <a:pt x="40" y="115"/>
                    </a:cubicBezTo>
                    <a:cubicBezTo>
                      <a:pt x="39" y="108"/>
                      <a:pt x="37" y="100"/>
                      <a:pt x="34" y="93"/>
                    </a:cubicBezTo>
                    <a:cubicBezTo>
                      <a:pt x="33" y="82"/>
                      <a:pt x="30" y="72"/>
                      <a:pt x="28" y="61"/>
                    </a:cubicBezTo>
                    <a:cubicBezTo>
                      <a:pt x="28" y="58"/>
                      <a:pt x="28" y="50"/>
                      <a:pt x="25" y="46"/>
                    </a:cubicBezTo>
                    <a:cubicBezTo>
                      <a:pt x="22" y="43"/>
                      <a:pt x="16" y="37"/>
                      <a:pt x="16" y="37"/>
                    </a:cubicBezTo>
                    <a:cubicBezTo>
                      <a:pt x="14" y="25"/>
                      <a:pt x="13" y="9"/>
                      <a:pt x="6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64" name="未知"/>
              <p:cNvSpPr>
                <a:spLocks/>
              </p:cNvSpPr>
              <p:nvPr/>
            </p:nvSpPr>
            <p:spPr bwMode="auto">
              <a:xfrm>
                <a:off x="1761" y="1291"/>
                <a:ext cx="67" cy="5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8" y="34"/>
                  </a:cxn>
                  <a:cxn ang="0">
                    <a:pos x="23" y="43"/>
                  </a:cxn>
                  <a:cxn ang="0">
                    <a:pos x="48" y="49"/>
                  </a:cxn>
                  <a:cxn ang="0">
                    <a:pos x="62" y="57"/>
                  </a:cxn>
                  <a:cxn ang="0">
                    <a:pos x="74" y="66"/>
                  </a:cxn>
                  <a:cxn ang="0">
                    <a:pos x="86" y="69"/>
                  </a:cxn>
                  <a:cxn ang="0">
                    <a:pos x="72" y="39"/>
                  </a:cxn>
                  <a:cxn ang="0">
                    <a:pos x="63" y="22"/>
                  </a:cxn>
                  <a:cxn ang="0">
                    <a:pos x="36" y="24"/>
                  </a:cxn>
                  <a:cxn ang="0">
                    <a:pos x="24" y="19"/>
                  </a:cxn>
                  <a:cxn ang="0">
                    <a:pos x="6" y="0"/>
                  </a:cxn>
                  <a:cxn ang="0">
                    <a:pos x="2" y="0"/>
                  </a:cxn>
                </a:cxnLst>
                <a:rect l="0" t="0" r="r" b="b"/>
                <a:pathLst>
                  <a:path w="86" h="73">
                    <a:moveTo>
                      <a:pt x="2" y="0"/>
                    </a:moveTo>
                    <a:cubicBezTo>
                      <a:pt x="3" y="17"/>
                      <a:pt x="0" y="23"/>
                      <a:pt x="8" y="34"/>
                    </a:cubicBezTo>
                    <a:cubicBezTo>
                      <a:pt x="10" y="43"/>
                      <a:pt x="14" y="42"/>
                      <a:pt x="23" y="43"/>
                    </a:cubicBezTo>
                    <a:cubicBezTo>
                      <a:pt x="30" y="47"/>
                      <a:pt x="40" y="48"/>
                      <a:pt x="48" y="49"/>
                    </a:cubicBezTo>
                    <a:cubicBezTo>
                      <a:pt x="53" y="51"/>
                      <a:pt x="57" y="54"/>
                      <a:pt x="62" y="57"/>
                    </a:cubicBezTo>
                    <a:cubicBezTo>
                      <a:pt x="66" y="62"/>
                      <a:pt x="68" y="64"/>
                      <a:pt x="74" y="66"/>
                    </a:cubicBezTo>
                    <a:cubicBezTo>
                      <a:pt x="78" y="72"/>
                      <a:pt x="79" y="73"/>
                      <a:pt x="86" y="69"/>
                    </a:cubicBezTo>
                    <a:cubicBezTo>
                      <a:pt x="83" y="53"/>
                      <a:pt x="80" y="52"/>
                      <a:pt x="72" y="39"/>
                    </a:cubicBezTo>
                    <a:cubicBezTo>
                      <a:pt x="68" y="34"/>
                      <a:pt x="63" y="22"/>
                      <a:pt x="63" y="22"/>
                    </a:cubicBezTo>
                    <a:cubicBezTo>
                      <a:pt x="52" y="26"/>
                      <a:pt x="48" y="26"/>
                      <a:pt x="36" y="24"/>
                    </a:cubicBezTo>
                    <a:cubicBezTo>
                      <a:pt x="24" y="15"/>
                      <a:pt x="43" y="29"/>
                      <a:pt x="24" y="19"/>
                    </a:cubicBezTo>
                    <a:cubicBezTo>
                      <a:pt x="15" y="15"/>
                      <a:pt x="16" y="2"/>
                      <a:pt x="6" y="0"/>
                    </a:cubicBezTo>
                    <a:cubicBezTo>
                      <a:pt x="1" y="4"/>
                      <a:pt x="2" y="5"/>
                      <a:pt x="2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65" name="未知"/>
              <p:cNvSpPr>
                <a:spLocks/>
              </p:cNvSpPr>
              <p:nvPr/>
            </p:nvSpPr>
            <p:spPr bwMode="auto">
              <a:xfrm>
                <a:off x="1868" y="1196"/>
                <a:ext cx="85" cy="117"/>
              </a:xfrm>
              <a:custGeom>
                <a:avLst/>
                <a:gdLst/>
                <a:ahLst/>
                <a:cxnLst>
                  <a:cxn ang="0">
                    <a:pos x="98" y="0"/>
                  </a:cxn>
                  <a:cxn ang="0">
                    <a:pos x="75" y="10"/>
                  </a:cxn>
                  <a:cxn ang="0">
                    <a:pos x="23" y="15"/>
                  </a:cxn>
                  <a:cxn ang="0">
                    <a:pos x="14" y="33"/>
                  </a:cxn>
                  <a:cxn ang="0">
                    <a:pos x="11" y="61"/>
                  </a:cxn>
                  <a:cxn ang="0">
                    <a:pos x="14" y="75"/>
                  </a:cxn>
                  <a:cxn ang="0">
                    <a:pos x="3" y="88"/>
                  </a:cxn>
                  <a:cxn ang="0">
                    <a:pos x="14" y="109"/>
                  </a:cxn>
                  <a:cxn ang="0">
                    <a:pos x="23" y="124"/>
                  </a:cxn>
                  <a:cxn ang="0">
                    <a:pos x="15" y="144"/>
                  </a:cxn>
                  <a:cxn ang="0">
                    <a:pos x="24" y="156"/>
                  </a:cxn>
                  <a:cxn ang="0">
                    <a:pos x="42" y="144"/>
                  </a:cxn>
                  <a:cxn ang="0">
                    <a:pos x="50" y="93"/>
                  </a:cxn>
                  <a:cxn ang="0">
                    <a:pos x="56" y="126"/>
                  </a:cxn>
                  <a:cxn ang="0">
                    <a:pos x="65" y="145"/>
                  </a:cxn>
                  <a:cxn ang="0">
                    <a:pos x="62" y="112"/>
                  </a:cxn>
                  <a:cxn ang="0">
                    <a:pos x="72" y="73"/>
                  </a:cxn>
                  <a:cxn ang="0">
                    <a:pos x="69" y="51"/>
                  </a:cxn>
                  <a:cxn ang="0">
                    <a:pos x="54" y="60"/>
                  </a:cxn>
                  <a:cxn ang="0">
                    <a:pos x="35" y="54"/>
                  </a:cxn>
                  <a:cxn ang="0">
                    <a:pos x="41" y="36"/>
                  </a:cxn>
                  <a:cxn ang="0">
                    <a:pos x="62" y="34"/>
                  </a:cxn>
                  <a:cxn ang="0">
                    <a:pos x="78" y="39"/>
                  </a:cxn>
                  <a:cxn ang="0">
                    <a:pos x="98" y="30"/>
                  </a:cxn>
                  <a:cxn ang="0">
                    <a:pos x="111" y="13"/>
                  </a:cxn>
                  <a:cxn ang="0">
                    <a:pos x="98" y="0"/>
                  </a:cxn>
                </a:cxnLst>
                <a:rect l="0" t="0" r="r" b="b"/>
                <a:pathLst>
                  <a:path w="111" h="156">
                    <a:moveTo>
                      <a:pt x="98" y="0"/>
                    </a:moveTo>
                    <a:cubicBezTo>
                      <a:pt x="75" y="2"/>
                      <a:pt x="87" y="8"/>
                      <a:pt x="75" y="10"/>
                    </a:cubicBezTo>
                    <a:cubicBezTo>
                      <a:pt x="72" y="10"/>
                      <a:pt x="25" y="3"/>
                      <a:pt x="23" y="15"/>
                    </a:cubicBezTo>
                    <a:cubicBezTo>
                      <a:pt x="25" y="26"/>
                      <a:pt x="23" y="27"/>
                      <a:pt x="14" y="33"/>
                    </a:cubicBezTo>
                    <a:cubicBezTo>
                      <a:pt x="15" y="43"/>
                      <a:pt x="20" y="54"/>
                      <a:pt x="11" y="61"/>
                    </a:cubicBezTo>
                    <a:cubicBezTo>
                      <a:pt x="8" y="68"/>
                      <a:pt x="10" y="69"/>
                      <a:pt x="14" y="75"/>
                    </a:cubicBezTo>
                    <a:cubicBezTo>
                      <a:pt x="16" y="84"/>
                      <a:pt x="12" y="86"/>
                      <a:pt x="3" y="88"/>
                    </a:cubicBezTo>
                    <a:cubicBezTo>
                      <a:pt x="1" y="99"/>
                      <a:pt x="0" y="106"/>
                      <a:pt x="14" y="109"/>
                    </a:cubicBezTo>
                    <a:cubicBezTo>
                      <a:pt x="21" y="112"/>
                      <a:pt x="20" y="118"/>
                      <a:pt x="23" y="124"/>
                    </a:cubicBezTo>
                    <a:cubicBezTo>
                      <a:pt x="25" y="133"/>
                      <a:pt x="23" y="139"/>
                      <a:pt x="15" y="144"/>
                    </a:cubicBezTo>
                    <a:cubicBezTo>
                      <a:pt x="17" y="150"/>
                      <a:pt x="18" y="153"/>
                      <a:pt x="24" y="156"/>
                    </a:cubicBezTo>
                    <a:cubicBezTo>
                      <a:pt x="31" y="154"/>
                      <a:pt x="36" y="148"/>
                      <a:pt x="42" y="144"/>
                    </a:cubicBezTo>
                    <a:cubicBezTo>
                      <a:pt x="41" y="128"/>
                      <a:pt x="33" y="103"/>
                      <a:pt x="50" y="93"/>
                    </a:cubicBezTo>
                    <a:cubicBezTo>
                      <a:pt x="52" y="105"/>
                      <a:pt x="46" y="116"/>
                      <a:pt x="56" y="126"/>
                    </a:cubicBezTo>
                    <a:cubicBezTo>
                      <a:pt x="57" y="134"/>
                      <a:pt x="58" y="141"/>
                      <a:pt x="65" y="145"/>
                    </a:cubicBezTo>
                    <a:cubicBezTo>
                      <a:pt x="70" y="134"/>
                      <a:pt x="64" y="123"/>
                      <a:pt x="62" y="112"/>
                    </a:cubicBezTo>
                    <a:cubicBezTo>
                      <a:pt x="65" y="97"/>
                      <a:pt x="55" y="81"/>
                      <a:pt x="72" y="73"/>
                    </a:cubicBezTo>
                    <a:cubicBezTo>
                      <a:pt x="79" y="64"/>
                      <a:pt x="75" y="59"/>
                      <a:pt x="69" y="51"/>
                    </a:cubicBezTo>
                    <a:cubicBezTo>
                      <a:pt x="61" y="52"/>
                      <a:pt x="61" y="56"/>
                      <a:pt x="54" y="60"/>
                    </a:cubicBezTo>
                    <a:cubicBezTo>
                      <a:pt x="37" y="57"/>
                      <a:pt x="43" y="60"/>
                      <a:pt x="35" y="54"/>
                    </a:cubicBezTo>
                    <a:cubicBezTo>
                      <a:pt x="31" y="45"/>
                      <a:pt x="28" y="39"/>
                      <a:pt x="41" y="36"/>
                    </a:cubicBezTo>
                    <a:cubicBezTo>
                      <a:pt x="49" y="32"/>
                      <a:pt x="53" y="33"/>
                      <a:pt x="62" y="34"/>
                    </a:cubicBezTo>
                    <a:cubicBezTo>
                      <a:pt x="67" y="36"/>
                      <a:pt x="73" y="36"/>
                      <a:pt x="78" y="39"/>
                    </a:cubicBezTo>
                    <a:cubicBezTo>
                      <a:pt x="85" y="36"/>
                      <a:pt x="90" y="31"/>
                      <a:pt x="98" y="30"/>
                    </a:cubicBezTo>
                    <a:cubicBezTo>
                      <a:pt x="104" y="26"/>
                      <a:pt x="107" y="19"/>
                      <a:pt x="111" y="13"/>
                    </a:cubicBezTo>
                    <a:cubicBezTo>
                      <a:pt x="107" y="8"/>
                      <a:pt x="102" y="4"/>
                      <a:pt x="98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66" name="未知"/>
              <p:cNvSpPr>
                <a:spLocks/>
              </p:cNvSpPr>
              <p:nvPr/>
            </p:nvSpPr>
            <p:spPr bwMode="auto">
              <a:xfrm>
                <a:off x="1872" y="787"/>
                <a:ext cx="23" cy="71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0" y="16"/>
                  </a:cxn>
                  <a:cxn ang="0">
                    <a:pos x="6" y="37"/>
                  </a:cxn>
                  <a:cxn ang="0">
                    <a:pos x="1" y="61"/>
                  </a:cxn>
                  <a:cxn ang="0">
                    <a:pos x="16" y="94"/>
                  </a:cxn>
                  <a:cxn ang="0">
                    <a:pos x="30" y="82"/>
                  </a:cxn>
                  <a:cxn ang="0">
                    <a:pos x="22" y="61"/>
                  </a:cxn>
                  <a:cxn ang="0">
                    <a:pos x="12" y="0"/>
                  </a:cxn>
                </a:cxnLst>
                <a:rect l="0" t="0" r="r" b="b"/>
                <a:pathLst>
                  <a:path w="30" h="94">
                    <a:moveTo>
                      <a:pt x="12" y="0"/>
                    </a:moveTo>
                    <a:cubicBezTo>
                      <a:pt x="9" y="6"/>
                      <a:pt x="4" y="11"/>
                      <a:pt x="0" y="16"/>
                    </a:cubicBezTo>
                    <a:cubicBezTo>
                      <a:pt x="1" y="23"/>
                      <a:pt x="3" y="30"/>
                      <a:pt x="6" y="37"/>
                    </a:cubicBezTo>
                    <a:cubicBezTo>
                      <a:pt x="3" y="45"/>
                      <a:pt x="4" y="53"/>
                      <a:pt x="1" y="61"/>
                    </a:cubicBezTo>
                    <a:cubicBezTo>
                      <a:pt x="3" y="81"/>
                      <a:pt x="2" y="83"/>
                      <a:pt x="16" y="94"/>
                    </a:cubicBezTo>
                    <a:cubicBezTo>
                      <a:pt x="24" y="92"/>
                      <a:pt x="27" y="90"/>
                      <a:pt x="30" y="82"/>
                    </a:cubicBezTo>
                    <a:cubicBezTo>
                      <a:pt x="28" y="73"/>
                      <a:pt x="26" y="69"/>
                      <a:pt x="22" y="61"/>
                    </a:cubicBezTo>
                    <a:cubicBezTo>
                      <a:pt x="19" y="40"/>
                      <a:pt x="18" y="20"/>
                      <a:pt x="12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67" name="未知"/>
              <p:cNvSpPr>
                <a:spLocks/>
              </p:cNvSpPr>
              <p:nvPr/>
            </p:nvSpPr>
            <p:spPr bwMode="auto">
              <a:xfrm>
                <a:off x="1887" y="905"/>
                <a:ext cx="62" cy="118"/>
              </a:xfrm>
              <a:custGeom>
                <a:avLst/>
                <a:gdLst/>
                <a:ahLst/>
                <a:cxnLst>
                  <a:cxn ang="0">
                    <a:pos x="12" y="2"/>
                  </a:cxn>
                  <a:cxn ang="0">
                    <a:pos x="0" y="20"/>
                  </a:cxn>
                  <a:cxn ang="0">
                    <a:pos x="8" y="49"/>
                  </a:cxn>
                  <a:cxn ang="0">
                    <a:pos x="6" y="107"/>
                  </a:cxn>
                  <a:cxn ang="0">
                    <a:pos x="17" y="103"/>
                  </a:cxn>
                  <a:cxn ang="0">
                    <a:pos x="20" y="115"/>
                  </a:cxn>
                  <a:cxn ang="0">
                    <a:pos x="29" y="122"/>
                  </a:cxn>
                  <a:cxn ang="0">
                    <a:pos x="38" y="140"/>
                  </a:cxn>
                  <a:cxn ang="0">
                    <a:pos x="48" y="128"/>
                  </a:cxn>
                  <a:cxn ang="0">
                    <a:pos x="65" y="134"/>
                  </a:cxn>
                  <a:cxn ang="0">
                    <a:pos x="63" y="109"/>
                  </a:cxn>
                  <a:cxn ang="0">
                    <a:pos x="48" y="104"/>
                  </a:cxn>
                  <a:cxn ang="0">
                    <a:pos x="39" y="91"/>
                  </a:cxn>
                  <a:cxn ang="0">
                    <a:pos x="33" y="73"/>
                  </a:cxn>
                  <a:cxn ang="0">
                    <a:pos x="41" y="53"/>
                  </a:cxn>
                  <a:cxn ang="0">
                    <a:pos x="35" y="35"/>
                  </a:cxn>
                  <a:cxn ang="0">
                    <a:pos x="42" y="20"/>
                  </a:cxn>
                  <a:cxn ang="0">
                    <a:pos x="29" y="4"/>
                  </a:cxn>
                  <a:cxn ang="0">
                    <a:pos x="18" y="7"/>
                  </a:cxn>
                  <a:cxn ang="0">
                    <a:pos x="12" y="2"/>
                  </a:cxn>
                </a:cxnLst>
                <a:rect l="0" t="0" r="r" b="b"/>
                <a:pathLst>
                  <a:path w="81" h="158">
                    <a:moveTo>
                      <a:pt x="12" y="2"/>
                    </a:moveTo>
                    <a:cubicBezTo>
                      <a:pt x="8" y="8"/>
                      <a:pt x="3" y="13"/>
                      <a:pt x="0" y="20"/>
                    </a:cubicBezTo>
                    <a:cubicBezTo>
                      <a:pt x="5" y="31"/>
                      <a:pt x="6" y="35"/>
                      <a:pt x="8" y="49"/>
                    </a:cubicBezTo>
                    <a:cubicBezTo>
                      <a:pt x="7" y="69"/>
                      <a:pt x="4" y="87"/>
                      <a:pt x="6" y="107"/>
                    </a:cubicBezTo>
                    <a:cubicBezTo>
                      <a:pt x="8" y="106"/>
                      <a:pt x="14" y="101"/>
                      <a:pt x="17" y="103"/>
                    </a:cubicBezTo>
                    <a:cubicBezTo>
                      <a:pt x="20" y="105"/>
                      <a:pt x="17" y="112"/>
                      <a:pt x="20" y="115"/>
                    </a:cubicBezTo>
                    <a:cubicBezTo>
                      <a:pt x="22" y="118"/>
                      <a:pt x="29" y="122"/>
                      <a:pt x="29" y="122"/>
                    </a:cubicBezTo>
                    <a:cubicBezTo>
                      <a:pt x="29" y="133"/>
                      <a:pt x="27" y="158"/>
                      <a:pt x="38" y="140"/>
                    </a:cubicBezTo>
                    <a:cubicBezTo>
                      <a:pt x="39" y="133"/>
                      <a:pt x="41" y="131"/>
                      <a:pt x="48" y="128"/>
                    </a:cubicBezTo>
                    <a:cubicBezTo>
                      <a:pt x="55" y="130"/>
                      <a:pt x="59" y="133"/>
                      <a:pt x="65" y="134"/>
                    </a:cubicBezTo>
                    <a:cubicBezTo>
                      <a:pt x="81" y="131"/>
                      <a:pt x="76" y="112"/>
                      <a:pt x="63" y="109"/>
                    </a:cubicBezTo>
                    <a:cubicBezTo>
                      <a:pt x="58" y="107"/>
                      <a:pt x="53" y="106"/>
                      <a:pt x="48" y="104"/>
                    </a:cubicBezTo>
                    <a:cubicBezTo>
                      <a:pt x="45" y="100"/>
                      <a:pt x="42" y="95"/>
                      <a:pt x="39" y="91"/>
                    </a:cubicBezTo>
                    <a:cubicBezTo>
                      <a:pt x="38" y="85"/>
                      <a:pt x="36" y="79"/>
                      <a:pt x="33" y="73"/>
                    </a:cubicBezTo>
                    <a:cubicBezTo>
                      <a:pt x="31" y="64"/>
                      <a:pt x="33" y="58"/>
                      <a:pt x="41" y="53"/>
                    </a:cubicBezTo>
                    <a:cubicBezTo>
                      <a:pt x="48" y="44"/>
                      <a:pt x="47" y="38"/>
                      <a:pt x="35" y="35"/>
                    </a:cubicBezTo>
                    <a:cubicBezTo>
                      <a:pt x="36" y="28"/>
                      <a:pt x="39" y="26"/>
                      <a:pt x="42" y="20"/>
                    </a:cubicBezTo>
                    <a:cubicBezTo>
                      <a:pt x="41" y="13"/>
                      <a:pt x="35" y="8"/>
                      <a:pt x="29" y="4"/>
                    </a:cubicBezTo>
                    <a:cubicBezTo>
                      <a:pt x="25" y="9"/>
                      <a:pt x="23" y="13"/>
                      <a:pt x="18" y="7"/>
                    </a:cubicBezTo>
                    <a:cubicBezTo>
                      <a:pt x="17" y="0"/>
                      <a:pt x="19" y="2"/>
                      <a:pt x="12" y="2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68" name="未知"/>
              <p:cNvSpPr>
                <a:spLocks/>
              </p:cNvSpPr>
              <p:nvPr/>
            </p:nvSpPr>
            <p:spPr bwMode="auto">
              <a:xfrm>
                <a:off x="1898" y="1054"/>
                <a:ext cx="65" cy="79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44" y="18"/>
                  </a:cxn>
                  <a:cxn ang="0">
                    <a:pos x="32" y="30"/>
                  </a:cxn>
                  <a:cxn ang="0">
                    <a:pos x="16" y="35"/>
                  </a:cxn>
                  <a:cxn ang="0">
                    <a:pos x="8" y="48"/>
                  </a:cxn>
                  <a:cxn ang="0">
                    <a:pos x="4" y="74"/>
                  </a:cxn>
                  <a:cxn ang="0">
                    <a:pos x="13" y="71"/>
                  </a:cxn>
                  <a:cxn ang="0">
                    <a:pos x="25" y="62"/>
                  </a:cxn>
                  <a:cxn ang="0">
                    <a:pos x="34" y="69"/>
                  </a:cxn>
                  <a:cxn ang="0">
                    <a:pos x="58" y="99"/>
                  </a:cxn>
                  <a:cxn ang="0">
                    <a:pos x="71" y="72"/>
                  </a:cxn>
                  <a:cxn ang="0">
                    <a:pos x="85" y="68"/>
                  </a:cxn>
                  <a:cxn ang="0">
                    <a:pos x="74" y="39"/>
                  </a:cxn>
                  <a:cxn ang="0">
                    <a:pos x="52" y="0"/>
                  </a:cxn>
                </a:cxnLst>
                <a:rect l="0" t="0" r="r" b="b"/>
                <a:pathLst>
                  <a:path w="85" h="105">
                    <a:moveTo>
                      <a:pt x="52" y="0"/>
                    </a:moveTo>
                    <a:cubicBezTo>
                      <a:pt x="50" y="6"/>
                      <a:pt x="47" y="12"/>
                      <a:pt x="44" y="18"/>
                    </a:cubicBezTo>
                    <a:cubicBezTo>
                      <a:pt x="43" y="28"/>
                      <a:pt x="42" y="28"/>
                      <a:pt x="32" y="30"/>
                    </a:cubicBezTo>
                    <a:cubicBezTo>
                      <a:pt x="27" y="33"/>
                      <a:pt x="21" y="33"/>
                      <a:pt x="16" y="35"/>
                    </a:cubicBezTo>
                    <a:cubicBezTo>
                      <a:pt x="13" y="39"/>
                      <a:pt x="11" y="44"/>
                      <a:pt x="8" y="48"/>
                    </a:cubicBezTo>
                    <a:cubicBezTo>
                      <a:pt x="4" y="66"/>
                      <a:pt x="0" y="42"/>
                      <a:pt x="4" y="74"/>
                    </a:cubicBezTo>
                    <a:cubicBezTo>
                      <a:pt x="7" y="73"/>
                      <a:pt x="10" y="73"/>
                      <a:pt x="13" y="71"/>
                    </a:cubicBezTo>
                    <a:cubicBezTo>
                      <a:pt x="19" y="67"/>
                      <a:pt x="17" y="64"/>
                      <a:pt x="25" y="62"/>
                    </a:cubicBezTo>
                    <a:cubicBezTo>
                      <a:pt x="32" y="59"/>
                      <a:pt x="31" y="64"/>
                      <a:pt x="34" y="69"/>
                    </a:cubicBezTo>
                    <a:cubicBezTo>
                      <a:pt x="37" y="82"/>
                      <a:pt x="44" y="96"/>
                      <a:pt x="58" y="99"/>
                    </a:cubicBezTo>
                    <a:cubicBezTo>
                      <a:pt x="70" y="105"/>
                      <a:pt x="60" y="78"/>
                      <a:pt x="71" y="72"/>
                    </a:cubicBezTo>
                    <a:cubicBezTo>
                      <a:pt x="78" y="74"/>
                      <a:pt x="80" y="74"/>
                      <a:pt x="85" y="68"/>
                    </a:cubicBezTo>
                    <a:cubicBezTo>
                      <a:pt x="82" y="56"/>
                      <a:pt x="80" y="49"/>
                      <a:pt x="74" y="39"/>
                    </a:cubicBezTo>
                    <a:cubicBezTo>
                      <a:pt x="73" y="6"/>
                      <a:pt x="80" y="6"/>
                      <a:pt x="52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69" name="未知"/>
              <p:cNvSpPr>
                <a:spLocks/>
              </p:cNvSpPr>
              <p:nvPr/>
            </p:nvSpPr>
            <p:spPr bwMode="auto">
              <a:xfrm>
                <a:off x="1976" y="1194"/>
                <a:ext cx="29" cy="49"/>
              </a:xfrm>
              <a:custGeom>
                <a:avLst/>
                <a:gdLst/>
                <a:ahLst/>
                <a:cxnLst>
                  <a:cxn ang="0">
                    <a:pos x="6" y="27"/>
                  </a:cxn>
                  <a:cxn ang="0">
                    <a:pos x="26" y="66"/>
                  </a:cxn>
                  <a:cxn ang="0">
                    <a:pos x="30" y="52"/>
                  </a:cxn>
                  <a:cxn ang="0">
                    <a:pos x="38" y="40"/>
                  </a:cxn>
                  <a:cxn ang="0">
                    <a:pos x="30" y="25"/>
                  </a:cxn>
                  <a:cxn ang="0">
                    <a:pos x="20" y="13"/>
                  </a:cxn>
                  <a:cxn ang="0">
                    <a:pos x="11" y="1"/>
                  </a:cxn>
                  <a:cxn ang="0">
                    <a:pos x="2" y="12"/>
                  </a:cxn>
                  <a:cxn ang="0">
                    <a:pos x="6" y="27"/>
                  </a:cxn>
                </a:cxnLst>
                <a:rect l="0" t="0" r="r" b="b"/>
                <a:pathLst>
                  <a:path w="38" h="66">
                    <a:moveTo>
                      <a:pt x="6" y="27"/>
                    </a:moveTo>
                    <a:cubicBezTo>
                      <a:pt x="8" y="52"/>
                      <a:pt x="5" y="58"/>
                      <a:pt x="26" y="66"/>
                    </a:cubicBezTo>
                    <a:cubicBezTo>
                      <a:pt x="36" y="63"/>
                      <a:pt x="33" y="61"/>
                      <a:pt x="30" y="52"/>
                    </a:cubicBezTo>
                    <a:cubicBezTo>
                      <a:pt x="28" y="41"/>
                      <a:pt x="34" y="49"/>
                      <a:pt x="38" y="40"/>
                    </a:cubicBezTo>
                    <a:cubicBezTo>
                      <a:pt x="34" y="35"/>
                      <a:pt x="33" y="30"/>
                      <a:pt x="30" y="25"/>
                    </a:cubicBezTo>
                    <a:cubicBezTo>
                      <a:pt x="29" y="14"/>
                      <a:pt x="30" y="0"/>
                      <a:pt x="20" y="13"/>
                    </a:cubicBezTo>
                    <a:cubicBezTo>
                      <a:pt x="14" y="9"/>
                      <a:pt x="12" y="8"/>
                      <a:pt x="11" y="1"/>
                    </a:cubicBezTo>
                    <a:cubicBezTo>
                      <a:pt x="5" y="4"/>
                      <a:pt x="3" y="5"/>
                      <a:pt x="2" y="12"/>
                    </a:cubicBezTo>
                    <a:cubicBezTo>
                      <a:pt x="3" y="25"/>
                      <a:pt x="0" y="21"/>
                      <a:pt x="6" y="27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70" name="未知"/>
              <p:cNvSpPr>
                <a:spLocks/>
              </p:cNvSpPr>
              <p:nvPr/>
            </p:nvSpPr>
            <p:spPr bwMode="auto">
              <a:xfrm>
                <a:off x="1959" y="1276"/>
                <a:ext cx="19" cy="1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" y="23"/>
                  </a:cxn>
                  <a:cxn ang="0">
                    <a:pos x="24" y="11"/>
                  </a:cxn>
                  <a:cxn ang="0">
                    <a:pos x="0" y="0"/>
                  </a:cxn>
                </a:cxnLst>
                <a:rect l="0" t="0" r="r" b="b"/>
                <a:pathLst>
                  <a:path w="24" h="23">
                    <a:moveTo>
                      <a:pt x="0" y="0"/>
                    </a:moveTo>
                    <a:cubicBezTo>
                      <a:pt x="1" y="8"/>
                      <a:pt x="3" y="16"/>
                      <a:pt x="6" y="23"/>
                    </a:cubicBezTo>
                    <a:cubicBezTo>
                      <a:pt x="19" y="20"/>
                      <a:pt x="19" y="22"/>
                      <a:pt x="24" y="11"/>
                    </a:cubicBezTo>
                    <a:cubicBezTo>
                      <a:pt x="20" y="0"/>
                      <a:pt x="4" y="8"/>
                      <a:pt x="0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71" name="未知"/>
              <p:cNvSpPr>
                <a:spLocks/>
              </p:cNvSpPr>
              <p:nvPr/>
            </p:nvSpPr>
            <p:spPr bwMode="auto">
              <a:xfrm>
                <a:off x="1987" y="1266"/>
                <a:ext cx="46" cy="37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18"/>
                  </a:cxn>
                  <a:cxn ang="0">
                    <a:pos x="28" y="33"/>
                  </a:cxn>
                  <a:cxn ang="0">
                    <a:pos x="42" y="46"/>
                  </a:cxn>
                  <a:cxn ang="0">
                    <a:pos x="60" y="42"/>
                  </a:cxn>
                  <a:cxn ang="0">
                    <a:pos x="49" y="24"/>
                  </a:cxn>
                  <a:cxn ang="0">
                    <a:pos x="28" y="3"/>
                  </a:cxn>
                  <a:cxn ang="0">
                    <a:pos x="19" y="16"/>
                  </a:cxn>
                  <a:cxn ang="0">
                    <a:pos x="9" y="0"/>
                  </a:cxn>
                </a:cxnLst>
                <a:rect l="0" t="0" r="r" b="b"/>
                <a:pathLst>
                  <a:path w="60" h="49">
                    <a:moveTo>
                      <a:pt x="9" y="0"/>
                    </a:moveTo>
                    <a:cubicBezTo>
                      <a:pt x="8" y="7"/>
                      <a:pt x="0" y="18"/>
                      <a:pt x="0" y="18"/>
                    </a:cubicBezTo>
                    <a:cubicBezTo>
                      <a:pt x="2" y="36"/>
                      <a:pt x="9" y="31"/>
                      <a:pt x="28" y="33"/>
                    </a:cubicBezTo>
                    <a:cubicBezTo>
                      <a:pt x="33" y="40"/>
                      <a:pt x="33" y="44"/>
                      <a:pt x="42" y="46"/>
                    </a:cubicBezTo>
                    <a:cubicBezTo>
                      <a:pt x="49" y="49"/>
                      <a:pt x="56" y="49"/>
                      <a:pt x="60" y="42"/>
                    </a:cubicBezTo>
                    <a:cubicBezTo>
                      <a:pt x="58" y="32"/>
                      <a:pt x="59" y="26"/>
                      <a:pt x="49" y="24"/>
                    </a:cubicBezTo>
                    <a:cubicBezTo>
                      <a:pt x="47" y="12"/>
                      <a:pt x="41" y="5"/>
                      <a:pt x="28" y="3"/>
                    </a:cubicBezTo>
                    <a:cubicBezTo>
                      <a:pt x="23" y="10"/>
                      <a:pt x="30" y="23"/>
                      <a:pt x="19" y="16"/>
                    </a:cubicBezTo>
                    <a:cubicBezTo>
                      <a:pt x="17" y="6"/>
                      <a:pt x="20" y="0"/>
                      <a:pt x="9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72" name="未知"/>
              <p:cNvSpPr>
                <a:spLocks/>
              </p:cNvSpPr>
              <p:nvPr/>
            </p:nvSpPr>
            <p:spPr bwMode="auto">
              <a:xfrm>
                <a:off x="2058" y="1336"/>
                <a:ext cx="24" cy="33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10" y="11"/>
                  </a:cxn>
                  <a:cxn ang="0">
                    <a:pos x="12" y="32"/>
                  </a:cxn>
                  <a:cxn ang="0">
                    <a:pos x="24" y="36"/>
                  </a:cxn>
                  <a:cxn ang="0">
                    <a:pos x="28" y="0"/>
                  </a:cxn>
                </a:cxnLst>
                <a:rect l="0" t="0" r="r" b="b"/>
                <a:pathLst>
                  <a:path w="32" h="44">
                    <a:moveTo>
                      <a:pt x="28" y="0"/>
                    </a:moveTo>
                    <a:cubicBezTo>
                      <a:pt x="32" y="10"/>
                      <a:pt x="18" y="9"/>
                      <a:pt x="10" y="11"/>
                    </a:cubicBezTo>
                    <a:cubicBezTo>
                      <a:pt x="0" y="18"/>
                      <a:pt x="7" y="24"/>
                      <a:pt x="12" y="32"/>
                    </a:cubicBezTo>
                    <a:cubicBezTo>
                      <a:pt x="14" y="44"/>
                      <a:pt x="15" y="41"/>
                      <a:pt x="24" y="36"/>
                    </a:cubicBezTo>
                    <a:cubicBezTo>
                      <a:pt x="32" y="25"/>
                      <a:pt x="29" y="14"/>
                      <a:pt x="28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73" name="未知"/>
              <p:cNvSpPr>
                <a:spLocks/>
              </p:cNvSpPr>
              <p:nvPr/>
            </p:nvSpPr>
            <p:spPr bwMode="auto">
              <a:xfrm>
                <a:off x="2331" y="1294"/>
                <a:ext cx="47" cy="47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0" y="14"/>
                  </a:cxn>
                  <a:cxn ang="0">
                    <a:pos x="24" y="35"/>
                  </a:cxn>
                  <a:cxn ang="0">
                    <a:pos x="36" y="54"/>
                  </a:cxn>
                  <a:cxn ang="0">
                    <a:pos x="46" y="63"/>
                  </a:cxn>
                  <a:cxn ang="0">
                    <a:pos x="61" y="56"/>
                  </a:cxn>
                  <a:cxn ang="0">
                    <a:pos x="33" y="17"/>
                  </a:cxn>
                  <a:cxn ang="0">
                    <a:pos x="7" y="0"/>
                  </a:cxn>
                </a:cxnLst>
                <a:rect l="0" t="0" r="r" b="b"/>
                <a:pathLst>
                  <a:path w="61" h="63">
                    <a:moveTo>
                      <a:pt x="7" y="0"/>
                    </a:moveTo>
                    <a:cubicBezTo>
                      <a:pt x="6" y="6"/>
                      <a:pt x="3" y="9"/>
                      <a:pt x="0" y="14"/>
                    </a:cubicBezTo>
                    <a:cubicBezTo>
                      <a:pt x="7" y="23"/>
                      <a:pt x="13" y="31"/>
                      <a:pt x="24" y="35"/>
                    </a:cubicBezTo>
                    <a:cubicBezTo>
                      <a:pt x="27" y="42"/>
                      <a:pt x="31" y="48"/>
                      <a:pt x="36" y="54"/>
                    </a:cubicBezTo>
                    <a:cubicBezTo>
                      <a:pt x="37" y="61"/>
                      <a:pt x="40" y="59"/>
                      <a:pt x="46" y="63"/>
                    </a:cubicBezTo>
                    <a:cubicBezTo>
                      <a:pt x="54" y="62"/>
                      <a:pt x="56" y="62"/>
                      <a:pt x="61" y="56"/>
                    </a:cubicBezTo>
                    <a:cubicBezTo>
                      <a:pt x="59" y="46"/>
                      <a:pt x="42" y="23"/>
                      <a:pt x="33" y="17"/>
                    </a:cubicBezTo>
                    <a:cubicBezTo>
                      <a:pt x="23" y="10"/>
                      <a:pt x="14" y="9"/>
                      <a:pt x="7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74" name="未知"/>
              <p:cNvSpPr>
                <a:spLocks/>
              </p:cNvSpPr>
              <p:nvPr/>
            </p:nvSpPr>
            <p:spPr bwMode="auto">
              <a:xfrm>
                <a:off x="1924" y="1353"/>
                <a:ext cx="47" cy="50"/>
              </a:xfrm>
              <a:custGeom>
                <a:avLst/>
                <a:gdLst/>
                <a:ahLst/>
                <a:cxnLst>
                  <a:cxn ang="0">
                    <a:pos x="28" y="7"/>
                  </a:cxn>
                  <a:cxn ang="0">
                    <a:pos x="30" y="34"/>
                  </a:cxn>
                  <a:cxn ang="0">
                    <a:pos x="16" y="43"/>
                  </a:cxn>
                  <a:cxn ang="0">
                    <a:pos x="22" y="67"/>
                  </a:cxn>
                  <a:cxn ang="0">
                    <a:pos x="48" y="58"/>
                  </a:cxn>
                  <a:cxn ang="0">
                    <a:pos x="60" y="47"/>
                  </a:cxn>
                  <a:cxn ang="0">
                    <a:pos x="51" y="28"/>
                  </a:cxn>
                  <a:cxn ang="0">
                    <a:pos x="57" y="14"/>
                  </a:cxn>
                  <a:cxn ang="0">
                    <a:pos x="55" y="2"/>
                  </a:cxn>
                  <a:cxn ang="0">
                    <a:pos x="46" y="4"/>
                  </a:cxn>
                  <a:cxn ang="0">
                    <a:pos x="51" y="5"/>
                  </a:cxn>
                  <a:cxn ang="0">
                    <a:pos x="49" y="16"/>
                  </a:cxn>
                  <a:cxn ang="0">
                    <a:pos x="43" y="23"/>
                  </a:cxn>
                  <a:cxn ang="0">
                    <a:pos x="28" y="7"/>
                  </a:cxn>
                </a:cxnLst>
                <a:rect l="0" t="0" r="r" b="b"/>
                <a:pathLst>
                  <a:path w="61" h="67">
                    <a:moveTo>
                      <a:pt x="28" y="7"/>
                    </a:moveTo>
                    <a:cubicBezTo>
                      <a:pt x="17" y="15"/>
                      <a:pt x="24" y="25"/>
                      <a:pt x="30" y="34"/>
                    </a:cubicBezTo>
                    <a:cubicBezTo>
                      <a:pt x="27" y="44"/>
                      <a:pt x="26" y="44"/>
                      <a:pt x="16" y="43"/>
                    </a:cubicBezTo>
                    <a:cubicBezTo>
                      <a:pt x="0" y="46"/>
                      <a:pt x="13" y="63"/>
                      <a:pt x="22" y="67"/>
                    </a:cubicBezTo>
                    <a:cubicBezTo>
                      <a:pt x="31" y="65"/>
                      <a:pt x="39" y="60"/>
                      <a:pt x="48" y="58"/>
                    </a:cubicBezTo>
                    <a:cubicBezTo>
                      <a:pt x="51" y="52"/>
                      <a:pt x="54" y="50"/>
                      <a:pt x="60" y="47"/>
                    </a:cubicBezTo>
                    <a:cubicBezTo>
                      <a:pt x="61" y="40"/>
                      <a:pt x="51" y="28"/>
                      <a:pt x="51" y="28"/>
                    </a:cubicBezTo>
                    <a:cubicBezTo>
                      <a:pt x="52" y="22"/>
                      <a:pt x="55" y="19"/>
                      <a:pt x="57" y="14"/>
                    </a:cubicBezTo>
                    <a:cubicBezTo>
                      <a:pt x="56" y="10"/>
                      <a:pt x="58" y="5"/>
                      <a:pt x="55" y="2"/>
                    </a:cubicBezTo>
                    <a:cubicBezTo>
                      <a:pt x="53" y="0"/>
                      <a:pt x="48" y="2"/>
                      <a:pt x="46" y="4"/>
                    </a:cubicBezTo>
                    <a:cubicBezTo>
                      <a:pt x="45" y="5"/>
                      <a:pt x="49" y="5"/>
                      <a:pt x="51" y="5"/>
                    </a:cubicBezTo>
                    <a:cubicBezTo>
                      <a:pt x="57" y="10"/>
                      <a:pt x="52" y="9"/>
                      <a:pt x="49" y="16"/>
                    </a:cubicBezTo>
                    <a:cubicBezTo>
                      <a:pt x="58" y="23"/>
                      <a:pt x="50" y="22"/>
                      <a:pt x="43" y="23"/>
                    </a:cubicBezTo>
                    <a:cubicBezTo>
                      <a:pt x="34" y="22"/>
                      <a:pt x="31" y="16"/>
                      <a:pt x="28" y="7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75" name="未知"/>
              <p:cNvSpPr>
                <a:spLocks/>
              </p:cNvSpPr>
              <p:nvPr/>
            </p:nvSpPr>
            <p:spPr bwMode="auto">
              <a:xfrm>
                <a:off x="1874" y="1372"/>
                <a:ext cx="33" cy="27"/>
              </a:xfrm>
              <a:custGeom>
                <a:avLst/>
                <a:gdLst/>
                <a:ahLst/>
                <a:cxnLst>
                  <a:cxn ang="0">
                    <a:pos x="21" y="3"/>
                  </a:cxn>
                  <a:cxn ang="0">
                    <a:pos x="6" y="6"/>
                  </a:cxn>
                  <a:cxn ang="0">
                    <a:pos x="33" y="36"/>
                  </a:cxn>
                  <a:cxn ang="0">
                    <a:pos x="42" y="30"/>
                  </a:cxn>
                  <a:cxn ang="0">
                    <a:pos x="21" y="3"/>
                  </a:cxn>
                </a:cxnLst>
                <a:rect l="0" t="0" r="r" b="b"/>
                <a:pathLst>
                  <a:path w="43" h="36">
                    <a:moveTo>
                      <a:pt x="21" y="3"/>
                    </a:moveTo>
                    <a:cubicBezTo>
                      <a:pt x="14" y="0"/>
                      <a:pt x="12" y="2"/>
                      <a:pt x="6" y="6"/>
                    </a:cubicBezTo>
                    <a:cubicBezTo>
                      <a:pt x="0" y="17"/>
                      <a:pt x="23" y="32"/>
                      <a:pt x="33" y="36"/>
                    </a:cubicBezTo>
                    <a:cubicBezTo>
                      <a:pt x="36" y="35"/>
                      <a:pt x="42" y="34"/>
                      <a:pt x="42" y="30"/>
                    </a:cubicBezTo>
                    <a:cubicBezTo>
                      <a:pt x="43" y="24"/>
                      <a:pt x="27" y="3"/>
                      <a:pt x="21" y="3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76" name="未知"/>
              <p:cNvSpPr>
                <a:spLocks/>
              </p:cNvSpPr>
              <p:nvPr/>
            </p:nvSpPr>
            <p:spPr bwMode="auto">
              <a:xfrm>
                <a:off x="1853" y="1343"/>
                <a:ext cx="24" cy="31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0" y="26"/>
                  </a:cxn>
                  <a:cxn ang="0">
                    <a:pos x="16" y="24"/>
                  </a:cxn>
                  <a:cxn ang="0">
                    <a:pos x="19" y="29"/>
                  </a:cxn>
                  <a:cxn ang="0">
                    <a:pos x="16" y="35"/>
                  </a:cxn>
                  <a:cxn ang="0">
                    <a:pos x="30" y="21"/>
                  </a:cxn>
                  <a:cxn ang="0">
                    <a:pos x="24" y="9"/>
                  </a:cxn>
                  <a:cxn ang="0">
                    <a:pos x="21" y="0"/>
                  </a:cxn>
                </a:cxnLst>
                <a:rect l="0" t="0" r="r" b="b"/>
                <a:pathLst>
                  <a:path w="32" h="41">
                    <a:moveTo>
                      <a:pt x="21" y="0"/>
                    </a:moveTo>
                    <a:cubicBezTo>
                      <a:pt x="15" y="10"/>
                      <a:pt x="6" y="16"/>
                      <a:pt x="0" y="26"/>
                    </a:cubicBezTo>
                    <a:cubicBezTo>
                      <a:pt x="7" y="27"/>
                      <a:pt x="10" y="27"/>
                      <a:pt x="16" y="24"/>
                    </a:cubicBezTo>
                    <a:cubicBezTo>
                      <a:pt x="17" y="26"/>
                      <a:pt x="19" y="27"/>
                      <a:pt x="19" y="29"/>
                    </a:cubicBezTo>
                    <a:cubicBezTo>
                      <a:pt x="19" y="31"/>
                      <a:pt x="15" y="33"/>
                      <a:pt x="16" y="35"/>
                    </a:cubicBezTo>
                    <a:cubicBezTo>
                      <a:pt x="19" y="41"/>
                      <a:pt x="29" y="23"/>
                      <a:pt x="30" y="21"/>
                    </a:cubicBezTo>
                    <a:cubicBezTo>
                      <a:pt x="32" y="9"/>
                      <a:pt x="26" y="19"/>
                      <a:pt x="24" y="9"/>
                    </a:cubicBezTo>
                    <a:cubicBezTo>
                      <a:pt x="25" y="1"/>
                      <a:pt x="27" y="4"/>
                      <a:pt x="21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77" name="未知"/>
              <p:cNvSpPr>
                <a:spLocks/>
              </p:cNvSpPr>
              <p:nvPr/>
            </p:nvSpPr>
            <p:spPr bwMode="auto">
              <a:xfrm>
                <a:off x="1887" y="1354"/>
                <a:ext cx="35" cy="24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0" y="7"/>
                  </a:cxn>
                  <a:cxn ang="0">
                    <a:pos x="27" y="31"/>
                  </a:cxn>
                  <a:cxn ang="0">
                    <a:pos x="45" y="24"/>
                  </a:cxn>
                  <a:cxn ang="0">
                    <a:pos x="22" y="10"/>
                  </a:cxn>
                  <a:cxn ang="0">
                    <a:pos x="21" y="0"/>
                  </a:cxn>
                </a:cxnLst>
                <a:rect l="0" t="0" r="r" b="b"/>
                <a:pathLst>
                  <a:path w="45" h="32">
                    <a:moveTo>
                      <a:pt x="21" y="0"/>
                    </a:moveTo>
                    <a:cubicBezTo>
                      <a:pt x="10" y="1"/>
                      <a:pt x="8" y="1"/>
                      <a:pt x="0" y="7"/>
                    </a:cubicBezTo>
                    <a:cubicBezTo>
                      <a:pt x="3" y="20"/>
                      <a:pt x="15" y="29"/>
                      <a:pt x="27" y="31"/>
                    </a:cubicBezTo>
                    <a:cubicBezTo>
                      <a:pt x="36" y="30"/>
                      <a:pt x="41" y="32"/>
                      <a:pt x="45" y="24"/>
                    </a:cubicBezTo>
                    <a:cubicBezTo>
                      <a:pt x="32" y="16"/>
                      <a:pt x="30" y="23"/>
                      <a:pt x="22" y="10"/>
                    </a:cubicBezTo>
                    <a:cubicBezTo>
                      <a:pt x="21" y="2"/>
                      <a:pt x="21" y="5"/>
                      <a:pt x="21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78" name="未知"/>
              <p:cNvSpPr>
                <a:spLocks/>
              </p:cNvSpPr>
              <p:nvPr/>
            </p:nvSpPr>
            <p:spPr bwMode="auto">
              <a:xfrm>
                <a:off x="1837" y="1023"/>
                <a:ext cx="28" cy="5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21" y="15"/>
                  </a:cxn>
                  <a:cxn ang="0">
                    <a:pos x="9" y="36"/>
                  </a:cxn>
                  <a:cxn ang="0">
                    <a:pos x="0" y="59"/>
                  </a:cxn>
                  <a:cxn ang="0">
                    <a:pos x="8" y="74"/>
                  </a:cxn>
                  <a:cxn ang="0">
                    <a:pos x="20" y="59"/>
                  </a:cxn>
                  <a:cxn ang="0">
                    <a:pos x="35" y="32"/>
                  </a:cxn>
                  <a:cxn ang="0">
                    <a:pos x="30" y="0"/>
                  </a:cxn>
                </a:cxnLst>
                <a:rect l="0" t="0" r="r" b="b"/>
                <a:pathLst>
                  <a:path w="35" h="74">
                    <a:moveTo>
                      <a:pt x="30" y="0"/>
                    </a:moveTo>
                    <a:cubicBezTo>
                      <a:pt x="33" y="8"/>
                      <a:pt x="29" y="14"/>
                      <a:pt x="21" y="15"/>
                    </a:cubicBezTo>
                    <a:cubicBezTo>
                      <a:pt x="19" y="27"/>
                      <a:pt x="24" y="33"/>
                      <a:pt x="9" y="36"/>
                    </a:cubicBezTo>
                    <a:cubicBezTo>
                      <a:pt x="13" y="50"/>
                      <a:pt x="12" y="52"/>
                      <a:pt x="0" y="59"/>
                    </a:cubicBezTo>
                    <a:cubicBezTo>
                      <a:pt x="3" y="64"/>
                      <a:pt x="5" y="69"/>
                      <a:pt x="8" y="74"/>
                    </a:cubicBezTo>
                    <a:cubicBezTo>
                      <a:pt x="15" y="71"/>
                      <a:pt x="16" y="65"/>
                      <a:pt x="20" y="59"/>
                    </a:cubicBezTo>
                    <a:cubicBezTo>
                      <a:pt x="22" y="47"/>
                      <a:pt x="28" y="41"/>
                      <a:pt x="35" y="32"/>
                    </a:cubicBezTo>
                    <a:cubicBezTo>
                      <a:pt x="34" y="26"/>
                      <a:pt x="30" y="8"/>
                      <a:pt x="30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79" name="未知"/>
              <p:cNvSpPr>
                <a:spLocks/>
              </p:cNvSpPr>
              <p:nvPr/>
            </p:nvSpPr>
            <p:spPr bwMode="auto">
              <a:xfrm>
                <a:off x="1889" y="1014"/>
                <a:ext cx="20" cy="55"/>
              </a:xfrm>
              <a:custGeom>
                <a:avLst/>
                <a:gdLst/>
                <a:ahLst/>
                <a:cxnLst>
                  <a:cxn ang="0">
                    <a:pos x="13" y="7"/>
                  </a:cxn>
                  <a:cxn ang="0">
                    <a:pos x="4" y="8"/>
                  </a:cxn>
                  <a:cxn ang="0">
                    <a:pos x="0" y="22"/>
                  </a:cxn>
                  <a:cxn ang="0">
                    <a:pos x="15" y="41"/>
                  </a:cxn>
                  <a:cxn ang="0">
                    <a:pos x="25" y="56"/>
                  </a:cxn>
                  <a:cxn ang="0">
                    <a:pos x="16" y="20"/>
                  </a:cxn>
                  <a:cxn ang="0">
                    <a:pos x="13" y="7"/>
                  </a:cxn>
                </a:cxnLst>
                <a:rect l="0" t="0" r="r" b="b"/>
                <a:pathLst>
                  <a:path w="25" h="73">
                    <a:moveTo>
                      <a:pt x="13" y="7"/>
                    </a:moveTo>
                    <a:cubicBezTo>
                      <a:pt x="9" y="0"/>
                      <a:pt x="7" y="2"/>
                      <a:pt x="4" y="8"/>
                    </a:cubicBezTo>
                    <a:cubicBezTo>
                      <a:pt x="3" y="13"/>
                      <a:pt x="1" y="17"/>
                      <a:pt x="0" y="22"/>
                    </a:cubicBezTo>
                    <a:cubicBezTo>
                      <a:pt x="1" y="35"/>
                      <a:pt x="6" y="33"/>
                      <a:pt x="15" y="41"/>
                    </a:cubicBezTo>
                    <a:cubicBezTo>
                      <a:pt x="16" y="52"/>
                      <a:pt x="15" y="73"/>
                      <a:pt x="25" y="56"/>
                    </a:cubicBezTo>
                    <a:cubicBezTo>
                      <a:pt x="24" y="33"/>
                      <a:pt x="23" y="36"/>
                      <a:pt x="16" y="20"/>
                    </a:cubicBezTo>
                    <a:cubicBezTo>
                      <a:pt x="15" y="11"/>
                      <a:pt x="16" y="15"/>
                      <a:pt x="13" y="7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80" name="未知"/>
              <p:cNvSpPr>
                <a:spLocks/>
              </p:cNvSpPr>
              <p:nvPr/>
            </p:nvSpPr>
            <p:spPr bwMode="auto">
              <a:xfrm>
                <a:off x="1912" y="997"/>
                <a:ext cx="10" cy="25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" y="10"/>
                  </a:cxn>
                  <a:cxn ang="0">
                    <a:pos x="11" y="25"/>
                  </a:cxn>
                  <a:cxn ang="0">
                    <a:pos x="11" y="0"/>
                  </a:cxn>
                </a:cxnLst>
                <a:rect l="0" t="0" r="r" b="b"/>
                <a:pathLst>
                  <a:path w="14" h="33">
                    <a:moveTo>
                      <a:pt x="11" y="0"/>
                    </a:moveTo>
                    <a:cubicBezTo>
                      <a:pt x="7" y="3"/>
                      <a:pt x="5" y="7"/>
                      <a:pt x="1" y="10"/>
                    </a:cubicBezTo>
                    <a:cubicBezTo>
                      <a:pt x="2" y="18"/>
                      <a:pt x="0" y="33"/>
                      <a:pt x="11" y="25"/>
                    </a:cubicBezTo>
                    <a:cubicBezTo>
                      <a:pt x="14" y="15"/>
                      <a:pt x="5" y="4"/>
                      <a:pt x="11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81" name="未知"/>
              <p:cNvSpPr>
                <a:spLocks/>
              </p:cNvSpPr>
              <p:nvPr/>
            </p:nvSpPr>
            <p:spPr bwMode="auto">
              <a:xfrm>
                <a:off x="1922" y="1009"/>
                <a:ext cx="22" cy="48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11" y="14"/>
                  </a:cxn>
                  <a:cxn ang="0">
                    <a:pos x="20" y="21"/>
                  </a:cxn>
                  <a:cxn ang="0">
                    <a:pos x="8" y="39"/>
                  </a:cxn>
                  <a:cxn ang="0">
                    <a:pos x="0" y="56"/>
                  </a:cxn>
                  <a:cxn ang="0">
                    <a:pos x="11" y="57"/>
                  </a:cxn>
                  <a:cxn ang="0">
                    <a:pos x="26" y="26"/>
                  </a:cxn>
                  <a:cxn ang="0">
                    <a:pos x="5" y="0"/>
                  </a:cxn>
                </a:cxnLst>
                <a:rect l="0" t="0" r="r" b="b"/>
                <a:pathLst>
                  <a:path w="28" h="64">
                    <a:moveTo>
                      <a:pt x="5" y="0"/>
                    </a:moveTo>
                    <a:cubicBezTo>
                      <a:pt x="6" y="5"/>
                      <a:pt x="7" y="10"/>
                      <a:pt x="11" y="14"/>
                    </a:cubicBezTo>
                    <a:cubicBezTo>
                      <a:pt x="14" y="17"/>
                      <a:pt x="20" y="21"/>
                      <a:pt x="20" y="21"/>
                    </a:cubicBezTo>
                    <a:cubicBezTo>
                      <a:pt x="9" y="27"/>
                      <a:pt x="0" y="23"/>
                      <a:pt x="8" y="39"/>
                    </a:cubicBezTo>
                    <a:cubicBezTo>
                      <a:pt x="6" y="47"/>
                      <a:pt x="4" y="50"/>
                      <a:pt x="0" y="56"/>
                    </a:cubicBezTo>
                    <a:cubicBezTo>
                      <a:pt x="4" y="62"/>
                      <a:pt x="7" y="64"/>
                      <a:pt x="11" y="57"/>
                    </a:cubicBezTo>
                    <a:cubicBezTo>
                      <a:pt x="13" y="43"/>
                      <a:pt x="10" y="29"/>
                      <a:pt x="26" y="26"/>
                    </a:cubicBezTo>
                    <a:cubicBezTo>
                      <a:pt x="28" y="15"/>
                      <a:pt x="14" y="4"/>
                      <a:pt x="5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82" name="未知"/>
              <p:cNvSpPr>
                <a:spLocks/>
              </p:cNvSpPr>
              <p:nvPr/>
            </p:nvSpPr>
            <p:spPr bwMode="auto">
              <a:xfrm>
                <a:off x="1647" y="1078"/>
                <a:ext cx="12" cy="27"/>
              </a:xfrm>
              <a:custGeom>
                <a:avLst/>
                <a:gdLst/>
                <a:ahLst/>
                <a:cxnLst>
                  <a:cxn ang="0">
                    <a:pos x="14" y="3"/>
                  </a:cxn>
                  <a:cxn ang="0">
                    <a:pos x="0" y="7"/>
                  </a:cxn>
                  <a:cxn ang="0">
                    <a:pos x="8" y="22"/>
                  </a:cxn>
                  <a:cxn ang="0">
                    <a:pos x="14" y="3"/>
                  </a:cxn>
                </a:cxnLst>
                <a:rect l="0" t="0" r="r" b="b"/>
                <a:pathLst>
                  <a:path w="16" h="36">
                    <a:moveTo>
                      <a:pt x="14" y="3"/>
                    </a:moveTo>
                    <a:cubicBezTo>
                      <a:pt x="7" y="0"/>
                      <a:pt x="4" y="1"/>
                      <a:pt x="0" y="7"/>
                    </a:cubicBezTo>
                    <a:cubicBezTo>
                      <a:pt x="3" y="14"/>
                      <a:pt x="2" y="17"/>
                      <a:pt x="8" y="22"/>
                    </a:cubicBezTo>
                    <a:cubicBezTo>
                      <a:pt x="16" y="36"/>
                      <a:pt x="11" y="7"/>
                      <a:pt x="14" y="3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83" name="未知"/>
              <p:cNvSpPr>
                <a:spLocks/>
              </p:cNvSpPr>
              <p:nvPr/>
            </p:nvSpPr>
            <p:spPr bwMode="auto">
              <a:xfrm>
                <a:off x="1636" y="1055"/>
                <a:ext cx="11" cy="15"/>
              </a:xfrm>
              <a:custGeom>
                <a:avLst/>
                <a:gdLst/>
                <a:ahLst/>
                <a:cxnLst>
                  <a:cxn ang="0">
                    <a:pos x="10" y="5"/>
                  </a:cxn>
                  <a:cxn ang="0">
                    <a:pos x="1" y="11"/>
                  </a:cxn>
                  <a:cxn ang="0">
                    <a:pos x="9" y="20"/>
                  </a:cxn>
                  <a:cxn ang="0">
                    <a:pos x="10" y="5"/>
                  </a:cxn>
                </a:cxnLst>
                <a:rect l="0" t="0" r="r" b="b"/>
                <a:pathLst>
                  <a:path w="13" h="20">
                    <a:moveTo>
                      <a:pt x="10" y="5"/>
                    </a:moveTo>
                    <a:cubicBezTo>
                      <a:pt x="3" y="0"/>
                      <a:pt x="5" y="6"/>
                      <a:pt x="1" y="11"/>
                    </a:cubicBezTo>
                    <a:cubicBezTo>
                      <a:pt x="0" y="18"/>
                      <a:pt x="2" y="19"/>
                      <a:pt x="9" y="20"/>
                    </a:cubicBezTo>
                    <a:cubicBezTo>
                      <a:pt x="13" y="14"/>
                      <a:pt x="10" y="12"/>
                      <a:pt x="10" y="5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84" name="未知"/>
              <p:cNvSpPr>
                <a:spLocks/>
              </p:cNvSpPr>
              <p:nvPr/>
            </p:nvSpPr>
            <p:spPr bwMode="auto">
              <a:xfrm>
                <a:off x="1632" y="1037"/>
                <a:ext cx="12" cy="14"/>
              </a:xfrm>
              <a:custGeom>
                <a:avLst/>
                <a:gdLst/>
                <a:ahLst/>
                <a:cxnLst>
                  <a:cxn ang="0">
                    <a:pos x="10" y="5"/>
                  </a:cxn>
                  <a:cxn ang="0">
                    <a:pos x="0" y="10"/>
                  </a:cxn>
                  <a:cxn ang="0">
                    <a:pos x="12" y="19"/>
                  </a:cxn>
                  <a:cxn ang="0">
                    <a:pos x="10" y="5"/>
                  </a:cxn>
                </a:cxnLst>
                <a:rect l="0" t="0" r="r" b="b"/>
                <a:pathLst>
                  <a:path w="16" h="19">
                    <a:moveTo>
                      <a:pt x="10" y="5"/>
                    </a:moveTo>
                    <a:cubicBezTo>
                      <a:pt x="4" y="0"/>
                      <a:pt x="1" y="3"/>
                      <a:pt x="0" y="10"/>
                    </a:cubicBezTo>
                    <a:cubicBezTo>
                      <a:pt x="4" y="15"/>
                      <a:pt x="7" y="16"/>
                      <a:pt x="12" y="19"/>
                    </a:cubicBezTo>
                    <a:cubicBezTo>
                      <a:pt x="16" y="12"/>
                      <a:pt x="14" y="12"/>
                      <a:pt x="10" y="5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85" name="未知"/>
              <p:cNvSpPr>
                <a:spLocks/>
              </p:cNvSpPr>
              <p:nvPr/>
            </p:nvSpPr>
            <p:spPr bwMode="auto">
              <a:xfrm>
                <a:off x="1653" y="1004"/>
                <a:ext cx="11" cy="19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0" y="13"/>
                  </a:cxn>
                  <a:cxn ang="0">
                    <a:pos x="12" y="24"/>
                  </a:cxn>
                  <a:cxn ang="0">
                    <a:pos x="6" y="0"/>
                  </a:cxn>
                </a:cxnLst>
                <a:rect l="0" t="0" r="r" b="b"/>
                <a:pathLst>
                  <a:path w="14" h="25">
                    <a:moveTo>
                      <a:pt x="6" y="0"/>
                    </a:moveTo>
                    <a:cubicBezTo>
                      <a:pt x="4" y="5"/>
                      <a:pt x="3" y="9"/>
                      <a:pt x="0" y="13"/>
                    </a:cubicBezTo>
                    <a:cubicBezTo>
                      <a:pt x="1" y="24"/>
                      <a:pt x="1" y="25"/>
                      <a:pt x="12" y="24"/>
                    </a:cubicBezTo>
                    <a:cubicBezTo>
                      <a:pt x="14" y="12"/>
                      <a:pt x="8" y="10"/>
                      <a:pt x="6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86" name="未知"/>
              <p:cNvSpPr>
                <a:spLocks/>
              </p:cNvSpPr>
              <p:nvPr/>
            </p:nvSpPr>
            <p:spPr bwMode="auto">
              <a:xfrm>
                <a:off x="1622" y="1022"/>
                <a:ext cx="16" cy="13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9" y="18"/>
                  </a:cxn>
                  <a:cxn ang="0">
                    <a:pos x="14" y="6"/>
                  </a:cxn>
                  <a:cxn ang="0">
                    <a:pos x="13" y="0"/>
                  </a:cxn>
                </a:cxnLst>
                <a:rect l="0" t="0" r="r" b="b"/>
                <a:pathLst>
                  <a:path w="22" h="18">
                    <a:moveTo>
                      <a:pt x="13" y="0"/>
                    </a:moveTo>
                    <a:cubicBezTo>
                      <a:pt x="0" y="8"/>
                      <a:pt x="9" y="12"/>
                      <a:pt x="19" y="18"/>
                    </a:cubicBezTo>
                    <a:cubicBezTo>
                      <a:pt x="20" y="11"/>
                      <a:pt x="22" y="8"/>
                      <a:pt x="14" y="6"/>
                    </a:cubicBezTo>
                    <a:cubicBezTo>
                      <a:pt x="9" y="3"/>
                      <a:pt x="9" y="5"/>
                      <a:pt x="13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87" name="未知"/>
              <p:cNvSpPr>
                <a:spLocks/>
              </p:cNvSpPr>
              <p:nvPr/>
            </p:nvSpPr>
            <p:spPr bwMode="auto">
              <a:xfrm>
                <a:off x="2479" y="1643"/>
                <a:ext cx="46" cy="59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3" y="18"/>
                  </a:cxn>
                  <a:cxn ang="0">
                    <a:pos x="15" y="39"/>
                  </a:cxn>
                  <a:cxn ang="0">
                    <a:pos x="27" y="54"/>
                  </a:cxn>
                  <a:cxn ang="0">
                    <a:pos x="40" y="63"/>
                  </a:cxn>
                  <a:cxn ang="0">
                    <a:pos x="51" y="81"/>
                  </a:cxn>
                  <a:cxn ang="0">
                    <a:pos x="52" y="57"/>
                  </a:cxn>
                  <a:cxn ang="0">
                    <a:pos x="43" y="37"/>
                  </a:cxn>
                  <a:cxn ang="0">
                    <a:pos x="25" y="18"/>
                  </a:cxn>
                  <a:cxn ang="0">
                    <a:pos x="10" y="7"/>
                  </a:cxn>
                </a:cxnLst>
                <a:rect l="0" t="0" r="r" b="b"/>
                <a:pathLst>
                  <a:path w="60" h="81">
                    <a:moveTo>
                      <a:pt x="10" y="7"/>
                    </a:moveTo>
                    <a:cubicBezTo>
                      <a:pt x="0" y="0"/>
                      <a:pt x="0" y="9"/>
                      <a:pt x="3" y="18"/>
                    </a:cubicBezTo>
                    <a:cubicBezTo>
                      <a:pt x="5" y="25"/>
                      <a:pt x="12" y="32"/>
                      <a:pt x="15" y="39"/>
                    </a:cubicBezTo>
                    <a:cubicBezTo>
                      <a:pt x="16" y="51"/>
                      <a:pt x="17" y="51"/>
                      <a:pt x="27" y="54"/>
                    </a:cubicBezTo>
                    <a:cubicBezTo>
                      <a:pt x="31" y="57"/>
                      <a:pt x="36" y="60"/>
                      <a:pt x="40" y="63"/>
                    </a:cubicBezTo>
                    <a:cubicBezTo>
                      <a:pt x="43" y="70"/>
                      <a:pt x="45" y="77"/>
                      <a:pt x="51" y="81"/>
                    </a:cubicBezTo>
                    <a:cubicBezTo>
                      <a:pt x="60" y="75"/>
                      <a:pt x="56" y="66"/>
                      <a:pt x="52" y="57"/>
                    </a:cubicBezTo>
                    <a:cubicBezTo>
                      <a:pt x="51" y="49"/>
                      <a:pt x="50" y="41"/>
                      <a:pt x="43" y="37"/>
                    </a:cubicBezTo>
                    <a:cubicBezTo>
                      <a:pt x="37" y="30"/>
                      <a:pt x="33" y="23"/>
                      <a:pt x="25" y="18"/>
                    </a:cubicBezTo>
                    <a:cubicBezTo>
                      <a:pt x="20" y="12"/>
                      <a:pt x="17" y="9"/>
                      <a:pt x="10" y="7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88" name="未知"/>
              <p:cNvSpPr>
                <a:spLocks/>
              </p:cNvSpPr>
              <p:nvPr/>
            </p:nvSpPr>
            <p:spPr bwMode="auto">
              <a:xfrm>
                <a:off x="2716" y="1594"/>
                <a:ext cx="54" cy="46"/>
              </a:xfrm>
              <a:custGeom>
                <a:avLst/>
                <a:gdLst/>
                <a:ahLst/>
                <a:cxnLst>
                  <a:cxn ang="0">
                    <a:pos x="28" y="23"/>
                  </a:cxn>
                  <a:cxn ang="0">
                    <a:pos x="13" y="32"/>
                  </a:cxn>
                  <a:cxn ang="0">
                    <a:pos x="1" y="44"/>
                  </a:cxn>
                  <a:cxn ang="0">
                    <a:pos x="13" y="59"/>
                  </a:cxn>
                  <a:cxn ang="0">
                    <a:pos x="28" y="44"/>
                  </a:cxn>
                  <a:cxn ang="0">
                    <a:pos x="40" y="23"/>
                  </a:cxn>
                  <a:cxn ang="0">
                    <a:pos x="55" y="0"/>
                  </a:cxn>
                  <a:cxn ang="0">
                    <a:pos x="71" y="11"/>
                  </a:cxn>
                  <a:cxn ang="0">
                    <a:pos x="35" y="23"/>
                  </a:cxn>
                  <a:cxn ang="0">
                    <a:pos x="28" y="23"/>
                  </a:cxn>
                </a:cxnLst>
                <a:rect l="0" t="0" r="r" b="b"/>
                <a:pathLst>
                  <a:path w="71" h="61">
                    <a:moveTo>
                      <a:pt x="28" y="23"/>
                    </a:moveTo>
                    <a:cubicBezTo>
                      <a:pt x="25" y="33"/>
                      <a:pt x="25" y="33"/>
                      <a:pt x="13" y="32"/>
                    </a:cubicBezTo>
                    <a:cubicBezTo>
                      <a:pt x="2" y="33"/>
                      <a:pt x="3" y="34"/>
                      <a:pt x="1" y="44"/>
                    </a:cubicBezTo>
                    <a:cubicBezTo>
                      <a:pt x="2" y="60"/>
                      <a:pt x="0" y="61"/>
                      <a:pt x="13" y="59"/>
                    </a:cubicBezTo>
                    <a:cubicBezTo>
                      <a:pt x="19" y="54"/>
                      <a:pt x="21" y="48"/>
                      <a:pt x="28" y="44"/>
                    </a:cubicBezTo>
                    <a:cubicBezTo>
                      <a:pt x="30" y="33"/>
                      <a:pt x="28" y="25"/>
                      <a:pt x="40" y="23"/>
                    </a:cubicBezTo>
                    <a:cubicBezTo>
                      <a:pt x="42" y="12"/>
                      <a:pt x="44" y="4"/>
                      <a:pt x="55" y="0"/>
                    </a:cubicBezTo>
                    <a:cubicBezTo>
                      <a:pt x="65" y="2"/>
                      <a:pt x="69" y="1"/>
                      <a:pt x="71" y="11"/>
                    </a:cubicBezTo>
                    <a:cubicBezTo>
                      <a:pt x="63" y="22"/>
                      <a:pt x="48" y="21"/>
                      <a:pt x="35" y="23"/>
                    </a:cubicBezTo>
                    <a:cubicBezTo>
                      <a:pt x="30" y="27"/>
                      <a:pt x="32" y="27"/>
                      <a:pt x="28" y="23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89" name="未知"/>
              <p:cNvSpPr>
                <a:spLocks/>
              </p:cNvSpPr>
              <p:nvPr/>
            </p:nvSpPr>
            <p:spPr bwMode="auto">
              <a:xfrm>
                <a:off x="2552" y="1569"/>
                <a:ext cx="17" cy="23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14"/>
                  </a:cxn>
                  <a:cxn ang="0">
                    <a:pos x="12" y="30"/>
                  </a:cxn>
                  <a:cxn ang="0">
                    <a:pos x="9" y="0"/>
                  </a:cxn>
                </a:cxnLst>
                <a:rect l="0" t="0" r="r" b="b"/>
                <a:pathLst>
                  <a:path w="23" h="30">
                    <a:moveTo>
                      <a:pt x="9" y="0"/>
                    </a:moveTo>
                    <a:cubicBezTo>
                      <a:pt x="8" y="7"/>
                      <a:pt x="3" y="8"/>
                      <a:pt x="0" y="14"/>
                    </a:cubicBezTo>
                    <a:cubicBezTo>
                      <a:pt x="3" y="21"/>
                      <a:pt x="8" y="24"/>
                      <a:pt x="12" y="30"/>
                    </a:cubicBezTo>
                    <a:cubicBezTo>
                      <a:pt x="23" y="15"/>
                      <a:pt x="4" y="9"/>
                      <a:pt x="9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0" name="未知"/>
              <p:cNvSpPr>
                <a:spLocks/>
              </p:cNvSpPr>
              <p:nvPr/>
            </p:nvSpPr>
            <p:spPr bwMode="auto">
              <a:xfrm>
                <a:off x="2543" y="1547"/>
                <a:ext cx="21" cy="17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0" y="14"/>
                  </a:cxn>
                  <a:cxn ang="0">
                    <a:pos x="21" y="20"/>
                  </a:cxn>
                  <a:cxn ang="0">
                    <a:pos x="19" y="0"/>
                  </a:cxn>
                </a:cxnLst>
                <a:rect l="0" t="0" r="r" b="b"/>
                <a:pathLst>
                  <a:path w="26" h="23">
                    <a:moveTo>
                      <a:pt x="19" y="0"/>
                    </a:moveTo>
                    <a:cubicBezTo>
                      <a:pt x="17" y="12"/>
                      <a:pt x="10" y="11"/>
                      <a:pt x="0" y="14"/>
                    </a:cubicBezTo>
                    <a:cubicBezTo>
                      <a:pt x="5" y="23"/>
                      <a:pt x="11" y="22"/>
                      <a:pt x="21" y="20"/>
                    </a:cubicBezTo>
                    <a:cubicBezTo>
                      <a:pt x="26" y="12"/>
                      <a:pt x="23" y="7"/>
                      <a:pt x="19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1" name="未知"/>
              <p:cNvSpPr>
                <a:spLocks/>
              </p:cNvSpPr>
              <p:nvPr/>
            </p:nvSpPr>
            <p:spPr bwMode="auto">
              <a:xfrm>
                <a:off x="2387" y="1354"/>
                <a:ext cx="24" cy="33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10" y="11"/>
                  </a:cxn>
                  <a:cxn ang="0">
                    <a:pos x="12" y="32"/>
                  </a:cxn>
                  <a:cxn ang="0">
                    <a:pos x="24" y="36"/>
                  </a:cxn>
                  <a:cxn ang="0">
                    <a:pos x="28" y="0"/>
                  </a:cxn>
                </a:cxnLst>
                <a:rect l="0" t="0" r="r" b="b"/>
                <a:pathLst>
                  <a:path w="32" h="44">
                    <a:moveTo>
                      <a:pt x="28" y="0"/>
                    </a:moveTo>
                    <a:cubicBezTo>
                      <a:pt x="32" y="10"/>
                      <a:pt x="18" y="9"/>
                      <a:pt x="10" y="11"/>
                    </a:cubicBezTo>
                    <a:cubicBezTo>
                      <a:pt x="0" y="18"/>
                      <a:pt x="7" y="24"/>
                      <a:pt x="12" y="32"/>
                    </a:cubicBezTo>
                    <a:cubicBezTo>
                      <a:pt x="14" y="44"/>
                      <a:pt x="15" y="41"/>
                      <a:pt x="24" y="36"/>
                    </a:cubicBezTo>
                    <a:cubicBezTo>
                      <a:pt x="32" y="25"/>
                      <a:pt x="29" y="14"/>
                      <a:pt x="28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2" name="未知"/>
              <p:cNvSpPr>
                <a:spLocks/>
              </p:cNvSpPr>
              <p:nvPr/>
            </p:nvSpPr>
            <p:spPr bwMode="auto">
              <a:xfrm>
                <a:off x="2421" y="1397"/>
                <a:ext cx="27" cy="32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10" y="9"/>
                  </a:cxn>
                  <a:cxn ang="0">
                    <a:pos x="14" y="32"/>
                  </a:cxn>
                  <a:cxn ang="0">
                    <a:pos x="26" y="36"/>
                  </a:cxn>
                  <a:cxn ang="0">
                    <a:pos x="30" y="0"/>
                  </a:cxn>
                </a:cxnLst>
                <a:rect l="0" t="0" r="r" b="b"/>
                <a:pathLst>
                  <a:path w="34" h="44">
                    <a:moveTo>
                      <a:pt x="30" y="0"/>
                    </a:moveTo>
                    <a:cubicBezTo>
                      <a:pt x="34" y="10"/>
                      <a:pt x="18" y="7"/>
                      <a:pt x="10" y="9"/>
                    </a:cubicBezTo>
                    <a:cubicBezTo>
                      <a:pt x="0" y="16"/>
                      <a:pt x="9" y="24"/>
                      <a:pt x="14" y="32"/>
                    </a:cubicBezTo>
                    <a:cubicBezTo>
                      <a:pt x="16" y="44"/>
                      <a:pt x="17" y="41"/>
                      <a:pt x="26" y="36"/>
                    </a:cubicBezTo>
                    <a:cubicBezTo>
                      <a:pt x="34" y="25"/>
                      <a:pt x="31" y="14"/>
                      <a:pt x="30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3" name="未知"/>
              <p:cNvSpPr>
                <a:spLocks/>
              </p:cNvSpPr>
              <p:nvPr/>
            </p:nvSpPr>
            <p:spPr bwMode="auto">
              <a:xfrm>
                <a:off x="2449" y="1459"/>
                <a:ext cx="29" cy="28"/>
              </a:xfrm>
              <a:custGeom>
                <a:avLst/>
                <a:gdLst/>
                <a:ahLst/>
                <a:cxnLst>
                  <a:cxn ang="0">
                    <a:pos x="34" y="2"/>
                  </a:cxn>
                  <a:cxn ang="0">
                    <a:pos x="10" y="2"/>
                  </a:cxn>
                  <a:cxn ang="0">
                    <a:pos x="14" y="25"/>
                  </a:cxn>
                  <a:cxn ang="0">
                    <a:pos x="26" y="29"/>
                  </a:cxn>
                  <a:cxn ang="0">
                    <a:pos x="34" y="2"/>
                  </a:cxn>
                </a:cxnLst>
                <a:rect l="0" t="0" r="r" b="b"/>
                <a:pathLst>
                  <a:path w="38" h="37">
                    <a:moveTo>
                      <a:pt x="34" y="2"/>
                    </a:moveTo>
                    <a:cubicBezTo>
                      <a:pt x="38" y="12"/>
                      <a:pt x="18" y="0"/>
                      <a:pt x="10" y="2"/>
                    </a:cubicBezTo>
                    <a:cubicBezTo>
                      <a:pt x="0" y="9"/>
                      <a:pt x="9" y="17"/>
                      <a:pt x="14" y="25"/>
                    </a:cubicBezTo>
                    <a:cubicBezTo>
                      <a:pt x="16" y="37"/>
                      <a:pt x="17" y="34"/>
                      <a:pt x="26" y="29"/>
                    </a:cubicBezTo>
                    <a:cubicBezTo>
                      <a:pt x="34" y="18"/>
                      <a:pt x="35" y="16"/>
                      <a:pt x="34" y="2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4" name="未知"/>
              <p:cNvSpPr>
                <a:spLocks/>
              </p:cNvSpPr>
              <p:nvPr/>
            </p:nvSpPr>
            <p:spPr bwMode="auto">
              <a:xfrm>
                <a:off x="2484" y="1449"/>
                <a:ext cx="29" cy="26"/>
              </a:xfrm>
              <a:custGeom>
                <a:avLst/>
                <a:gdLst/>
                <a:ahLst/>
                <a:cxnLst>
                  <a:cxn ang="0">
                    <a:pos x="34" y="2"/>
                  </a:cxn>
                  <a:cxn ang="0">
                    <a:pos x="10" y="2"/>
                  </a:cxn>
                  <a:cxn ang="0">
                    <a:pos x="16" y="22"/>
                  </a:cxn>
                  <a:cxn ang="0">
                    <a:pos x="27" y="22"/>
                  </a:cxn>
                  <a:cxn ang="0">
                    <a:pos x="34" y="2"/>
                  </a:cxn>
                </a:cxnLst>
                <a:rect l="0" t="0" r="r" b="b"/>
                <a:pathLst>
                  <a:path w="38" h="34">
                    <a:moveTo>
                      <a:pt x="34" y="2"/>
                    </a:moveTo>
                    <a:cubicBezTo>
                      <a:pt x="38" y="12"/>
                      <a:pt x="18" y="0"/>
                      <a:pt x="10" y="2"/>
                    </a:cubicBezTo>
                    <a:cubicBezTo>
                      <a:pt x="0" y="9"/>
                      <a:pt x="11" y="14"/>
                      <a:pt x="16" y="22"/>
                    </a:cubicBezTo>
                    <a:cubicBezTo>
                      <a:pt x="18" y="34"/>
                      <a:pt x="18" y="27"/>
                      <a:pt x="27" y="22"/>
                    </a:cubicBezTo>
                    <a:cubicBezTo>
                      <a:pt x="35" y="11"/>
                      <a:pt x="35" y="16"/>
                      <a:pt x="34" y="2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5" name="未知"/>
              <p:cNvSpPr>
                <a:spLocks/>
              </p:cNvSpPr>
              <p:nvPr/>
            </p:nvSpPr>
            <p:spPr bwMode="auto">
              <a:xfrm>
                <a:off x="2474" y="1413"/>
                <a:ext cx="26" cy="20"/>
              </a:xfrm>
              <a:custGeom>
                <a:avLst/>
                <a:gdLst/>
                <a:ahLst/>
                <a:cxnLst>
                  <a:cxn ang="0">
                    <a:pos x="31" y="1"/>
                  </a:cxn>
                  <a:cxn ang="0">
                    <a:pos x="10" y="2"/>
                  </a:cxn>
                  <a:cxn ang="0">
                    <a:pos x="13" y="15"/>
                  </a:cxn>
                  <a:cxn ang="0">
                    <a:pos x="25" y="19"/>
                  </a:cxn>
                  <a:cxn ang="0">
                    <a:pos x="31" y="1"/>
                  </a:cxn>
                </a:cxnLst>
                <a:rect l="0" t="0" r="r" b="b"/>
                <a:pathLst>
                  <a:path w="35" h="27">
                    <a:moveTo>
                      <a:pt x="31" y="1"/>
                    </a:moveTo>
                    <a:cubicBezTo>
                      <a:pt x="35" y="11"/>
                      <a:pt x="18" y="0"/>
                      <a:pt x="10" y="2"/>
                    </a:cubicBezTo>
                    <a:cubicBezTo>
                      <a:pt x="0" y="9"/>
                      <a:pt x="8" y="7"/>
                      <a:pt x="13" y="15"/>
                    </a:cubicBezTo>
                    <a:cubicBezTo>
                      <a:pt x="15" y="27"/>
                      <a:pt x="16" y="24"/>
                      <a:pt x="25" y="19"/>
                    </a:cubicBezTo>
                    <a:cubicBezTo>
                      <a:pt x="33" y="8"/>
                      <a:pt x="32" y="15"/>
                      <a:pt x="31" y="1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6" name="未知"/>
              <p:cNvSpPr>
                <a:spLocks/>
              </p:cNvSpPr>
              <p:nvPr/>
            </p:nvSpPr>
            <p:spPr bwMode="auto">
              <a:xfrm>
                <a:off x="2447" y="1389"/>
                <a:ext cx="27" cy="34"/>
              </a:xfrm>
              <a:custGeom>
                <a:avLst/>
                <a:gdLst/>
                <a:ahLst/>
                <a:cxnLst>
                  <a:cxn ang="0">
                    <a:pos x="28" y="16"/>
                  </a:cxn>
                  <a:cxn ang="0">
                    <a:pos x="19" y="2"/>
                  </a:cxn>
                  <a:cxn ang="0">
                    <a:pos x="10" y="25"/>
                  </a:cxn>
                  <a:cxn ang="0">
                    <a:pos x="19" y="35"/>
                  </a:cxn>
                  <a:cxn ang="0">
                    <a:pos x="27" y="29"/>
                  </a:cxn>
                  <a:cxn ang="0">
                    <a:pos x="28" y="16"/>
                  </a:cxn>
                </a:cxnLst>
                <a:rect l="0" t="0" r="r" b="b"/>
                <a:pathLst>
                  <a:path w="35" h="47">
                    <a:moveTo>
                      <a:pt x="28" y="16"/>
                    </a:moveTo>
                    <a:cubicBezTo>
                      <a:pt x="27" y="13"/>
                      <a:pt x="22" y="0"/>
                      <a:pt x="19" y="2"/>
                    </a:cubicBezTo>
                    <a:cubicBezTo>
                      <a:pt x="16" y="4"/>
                      <a:pt x="10" y="20"/>
                      <a:pt x="10" y="25"/>
                    </a:cubicBezTo>
                    <a:cubicBezTo>
                      <a:pt x="0" y="32"/>
                      <a:pt x="14" y="27"/>
                      <a:pt x="19" y="35"/>
                    </a:cubicBezTo>
                    <a:cubicBezTo>
                      <a:pt x="21" y="47"/>
                      <a:pt x="18" y="34"/>
                      <a:pt x="27" y="29"/>
                    </a:cubicBezTo>
                    <a:cubicBezTo>
                      <a:pt x="35" y="18"/>
                      <a:pt x="29" y="30"/>
                      <a:pt x="28" y="16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7" name="未知"/>
              <p:cNvSpPr>
                <a:spLocks/>
              </p:cNvSpPr>
              <p:nvPr/>
            </p:nvSpPr>
            <p:spPr bwMode="auto">
              <a:xfrm>
                <a:off x="2414" y="1373"/>
                <a:ext cx="25" cy="26"/>
              </a:xfrm>
              <a:custGeom>
                <a:avLst/>
                <a:gdLst/>
                <a:ahLst/>
                <a:cxnLst>
                  <a:cxn ang="0">
                    <a:pos x="22" y="10"/>
                  </a:cxn>
                  <a:cxn ang="0">
                    <a:pos x="10" y="2"/>
                  </a:cxn>
                  <a:cxn ang="0">
                    <a:pos x="12" y="23"/>
                  </a:cxn>
                  <a:cxn ang="0">
                    <a:pos x="24" y="27"/>
                  </a:cxn>
                  <a:cxn ang="0">
                    <a:pos x="22" y="10"/>
                  </a:cxn>
                </a:cxnLst>
                <a:rect l="0" t="0" r="r" b="b"/>
                <a:pathLst>
                  <a:path w="32" h="35">
                    <a:moveTo>
                      <a:pt x="22" y="10"/>
                    </a:moveTo>
                    <a:cubicBezTo>
                      <a:pt x="26" y="20"/>
                      <a:pt x="18" y="0"/>
                      <a:pt x="10" y="2"/>
                    </a:cubicBezTo>
                    <a:cubicBezTo>
                      <a:pt x="0" y="9"/>
                      <a:pt x="7" y="15"/>
                      <a:pt x="12" y="23"/>
                    </a:cubicBezTo>
                    <a:cubicBezTo>
                      <a:pt x="14" y="35"/>
                      <a:pt x="15" y="32"/>
                      <a:pt x="24" y="27"/>
                    </a:cubicBezTo>
                    <a:cubicBezTo>
                      <a:pt x="32" y="16"/>
                      <a:pt x="23" y="24"/>
                      <a:pt x="22" y="1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8" name="未知"/>
              <p:cNvSpPr>
                <a:spLocks/>
              </p:cNvSpPr>
              <p:nvPr/>
            </p:nvSpPr>
            <p:spPr bwMode="auto">
              <a:xfrm>
                <a:off x="2455" y="1425"/>
                <a:ext cx="25" cy="26"/>
              </a:xfrm>
              <a:custGeom>
                <a:avLst/>
                <a:gdLst/>
                <a:ahLst/>
                <a:cxnLst>
                  <a:cxn ang="0">
                    <a:pos x="22" y="10"/>
                  </a:cxn>
                  <a:cxn ang="0">
                    <a:pos x="10" y="2"/>
                  </a:cxn>
                  <a:cxn ang="0">
                    <a:pos x="12" y="23"/>
                  </a:cxn>
                  <a:cxn ang="0">
                    <a:pos x="24" y="27"/>
                  </a:cxn>
                  <a:cxn ang="0">
                    <a:pos x="22" y="10"/>
                  </a:cxn>
                </a:cxnLst>
                <a:rect l="0" t="0" r="r" b="b"/>
                <a:pathLst>
                  <a:path w="32" h="35">
                    <a:moveTo>
                      <a:pt x="22" y="10"/>
                    </a:moveTo>
                    <a:cubicBezTo>
                      <a:pt x="26" y="20"/>
                      <a:pt x="18" y="0"/>
                      <a:pt x="10" y="2"/>
                    </a:cubicBezTo>
                    <a:cubicBezTo>
                      <a:pt x="0" y="9"/>
                      <a:pt x="7" y="15"/>
                      <a:pt x="12" y="23"/>
                    </a:cubicBezTo>
                    <a:cubicBezTo>
                      <a:pt x="14" y="35"/>
                      <a:pt x="15" y="32"/>
                      <a:pt x="24" y="27"/>
                    </a:cubicBezTo>
                    <a:cubicBezTo>
                      <a:pt x="32" y="16"/>
                      <a:pt x="23" y="24"/>
                      <a:pt x="22" y="1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9" name="未知"/>
              <p:cNvSpPr>
                <a:spLocks/>
              </p:cNvSpPr>
              <p:nvPr/>
            </p:nvSpPr>
            <p:spPr bwMode="auto">
              <a:xfrm>
                <a:off x="838" y="64"/>
                <a:ext cx="144" cy="107"/>
              </a:xfrm>
              <a:custGeom>
                <a:avLst/>
                <a:gdLst/>
                <a:ahLst/>
                <a:cxnLst>
                  <a:cxn ang="0">
                    <a:pos x="171" y="4"/>
                  </a:cxn>
                  <a:cxn ang="0">
                    <a:pos x="185" y="4"/>
                  </a:cxn>
                  <a:cxn ang="0">
                    <a:pos x="189" y="16"/>
                  </a:cxn>
                  <a:cxn ang="0">
                    <a:pos x="187" y="24"/>
                  </a:cxn>
                  <a:cxn ang="0">
                    <a:pos x="131" y="44"/>
                  </a:cxn>
                  <a:cxn ang="0">
                    <a:pos x="109" y="58"/>
                  </a:cxn>
                  <a:cxn ang="0">
                    <a:pos x="97" y="62"/>
                  </a:cxn>
                  <a:cxn ang="0">
                    <a:pos x="71" y="82"/>
                  </a:cxn>
                  <a:cxn ang="0">
                    <a:pos x="75" y="92"/>
                  </a:cxn>
                  <a:cxn ang="0">
                    <a:pos x="83" y="116"/>
                  </a:cxn>
                  <a:cxn ang="0">
                    <a:pos x="107" y="126"/>
                  </a:cxn>
                  <a:cxn ang="0">
                    <a:pos x="93" y="140"/>
                  </a:cxn>
                  <a:cxn ang="0">
                    <a:pos x="83" y="130"/>
                  </a:cxn>
                  <a:cxn ang="0">
                    <a:pos x="71" y="134"/>
                  </a:cxn>
                  <a:cxn ang="0">
                    <a:pos x="21" y="122"/>
                  </a:cxn>
                  <a:cxn ang="0">
                    <a:pos x="19" y="106"/>
                  </a:cxn>
                  <a:cxn ang="0">
                    <a:pos x="47" y="90"/>
                  </a:cxn>
                  <a:cxn ang="0">
                    <a:pos x="51" y="76"/>
                  </a:cxn>
                  <a:cxn ang="0">
                    <a:pos x="47" y="64"/>
                  </a:cxn>
                  <a:cxn ang="0">
                    <a:pos x="73" y="46"/>
                  </a:cxn>
                  <a:cxn ang="0">
                    <a:pos x="97" y="36"/>
                  </a:cxn>
                  <a:cxn ang="0">
                    <a:pos x="113" y="24"/>
                  </a:cxn>
                  <a:cxn ang="0">
                    <a:pos x="171" y="4"/>
                  </a:cxn>
                </a:cxnLst>
                <a:rect l="0" t="0" r="r" b="b"/>
                <a:pathLst>
                  <a:path w="189" h="144">
                    <a:moveTo>
                      <a:pt x="171" y="4"/>
                    </a:moveTo>
                    <a:cubicBezTo>
                      <a:pt x="174" y="3"/>
                      <a:pt x="182" y="0"/>
                      <a:pt x="185" y="4"/>
                    </a:cubicBezTo>
                    <a:cubicBezTo>
                      <a:pt x="187" y="7"/>
                      <a:pt x="189" y="16"/>
                      <a:pt x="189" y="16"/>
                    </a:cubicBezTo>
                    <a:cubicBezTo>
                      <a:pt x="188" y="19"/>
                      <a:pt x="189" y="22"/>
                      <a:pt x="187" y="24"/>
                    </a:cubicBezTo>
                    <a:cubicBezTo>
                      <a:pt x="175" y="34"/>
                      <a:pt x="146" y="34"/>
                      <a:pt x="131" y="44"/>
                    </a:cubicBezTo>
                    <a:cubicBezTo>
                      <a:pt x="125" y="53"/>
                      <a:pt x="120" y="54"/>
                      <a:pt x="109" y="58"/>
                    </a:cubicBezTo>
                    <a:cubicBezTo>
                      <a:pt x="105" y="59"/>
                      <a:pt x="97" y="62"/>
                      <a:pt x="97" y="62"/>
                    </a:cubicBezTo>
                    <a:cubicBezTo>
                      <a:pt x="88" y="76"/>
                      <a:pt x="83" y="74"/>
                      <a:pt x="71" y="82"/>
                    </a:cubicBezTo>
                    <a:cubicBezTo>
                      <a:pt x="66" y="98"/>
                      <a:pt x="70" y="78"/>
                      <a:pt x="75" y="92"/>
                    </a:cubicBezTo>
                    <a:cubicBezTo>
                      <a:pt x="81" y="108"/>
                      <a:pt x="71" y="108"/>
                      <a:pt x="83" y="116"/>
                    </a:cubicBezTo>
                    <a:cubicBezTo>
                      <a:pt x="90" y="121"/>
                      <a:pt x="107" y="126"/>
                      <a:pt x="107" y="126"/>
                    </a:cubicBezTo>
                    <a:cubicBezTo>
                      <a:pt x="105" y="139"/>
                      <a:pt x="106" y="144"/>
                      <a:pt x="93" y="140"/>
                    </a:cubicBezTo>
                    <a:cubicBezTo>
                      <a:pt x="91" y="137"/>
                      <a:pt x="87" y="130"/>
                      <a:pt x="83" y="130"/>
                    </a:cubicBezTo>
                    <a:cubicBezTo>
                      <a:pt x="79" y="130"/>
                      <a:pt x="71" y="134"/>
                      <a:pt x="71" y="134"/>
                    </a:cubicBezTo>
                    <a:cubicBezTo>
                      <a:pt x="52" y="129"/>
                      <a:pt x="42" y="124"/>
                      <a:pt x="21" y="122"/>
                    </a:cubicBezTo>
                    <a:cubicBezTo>
                      <a:pt x="14" y="115"/>
                      <a:pt x="0" y="102"/>
                      <a:pt x="19" y="106"/>
                    </a:cubicBezTo>
                    <a:cubicBezTo>
                      <a:pt x="29" y="91"/>
                      <a:pt x="26" y="93"/>
                      <a:pt x="47" y="90"/>
                    </a:cubicBezTo>
                    <a:cubicBezTo>
                      <a:pt x="55" y="84"/>
                      <a:pt x="54" y="88"/>
                      <a:pt x="51" y="76"/>
                    </a:cubicBezTo>
                    <a:cubicBezTo>
                      <a:pt x="50" y="72"/>
                      <a:pt x="47" y="64"/>
                      <a:pt x="47" y="64"/>
                    </a:cubicBezTo>
                    <a:cubicBezTo>
                      <a:pt x="50" y="41"/>
                      <a:pt x="50" y="43"/>
                      <a:pt x="73" y="46"/>
                    </a:cubicBezTo>
                    <a:cubicBezTo>
                      <a:pt x="82" y="45"/>
                      <a:pt x="97" y="36"/>
                      <a:pt x="97" y="36"/>
                    </a:cubicBezTo>
                    <a:cubicBezTo>
                      <a:pt x="102" y="29"/>
                      <a:pt x="105" y="27"/>
                      <a:pt x="113" y="24"/>
                    </a:cubicBezTo>
                    <a:cubicBezTo>
                      <a:pt x="134" y="27"/>
                      <a:pt x="161" y="25"/>
                      <a:pt x="171" y="4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0" name="未知"/>
              <p:cNvSpPr>
                <a:spLocks/>
              </p:cNvSpPr>
              <p:nvPr/>
            </p:nvSpPr>
            <p:spPr bwMode="auto">
              <a:xfrm>
                <a:off x="924" y="167"/>
                <a:ext cx="41" cy="1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12" y="2"/>
                  </a:cxn>
                  <a:cxn ang="0">
                    <a:pos x="32" y="16"/>
                  </a:cxn>
                  <a:cxn ang="0">
                    <a:pos x="44" y="14"/>
                  </a:cxn>
                  <a:cxn ang="0">
                    <a:pos x="24" y="0"/>
                  </a:cxn>
                </a:cxnLst>
                <a:rect l="0" t="0" r="r" b="b"/>
                <a:pathLst>
                  <a:path w="53" h="17">
                    <a:moveTo>
                      <a:pt x="24" y="0"/>
                    </a:moveTo>
                    <a:cubicBezTo>
                      <a:pt x="20" y="1"/>
                      <a:pt x="16" y="0"/>
                      <a:pt x="12" y="2"/>
                    </a:cubicBezTo>
                    <a:cubicBezTo>
                      <a:pt x="0" y="9"/>
                      <a:pt x="30" y="15"/>
                      <a:pt x="32" y="16"/>
                    </a:cubicBezTo>
                    <a:cubicBezTo>
                      <a:pt x="36" y="15"/>
                      <a:pt x="41" y="17"/>
                      <a:pt x="44" y="14"/>
                    </a:cubicBezTo>
                    <a:cubicBezTo>
                      <a:pt x="53" y="3"/>
                      <a:pt x="30" y="0"/>
                      <a:pt x="24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1" name="未知"/>
              <p:cNvSpPr>
                <a:spLocks/>
              </p:cNvSpPr>
              <p:nvPr/>
            </p:nvSpPr>
            <p:spPr bwMode="auto">
              <a:xfrm>
                <a:off x="1134" y="12"/>
                <a:ext cx="43" cy="28"/>
              </a:xfrm>
              <a:custGeom>
                <a:avLst/>
                <a:gdLst/>
                <a:ahLst/>
                <a:cxnLst>
                  <a:cxn ang="0">
                    <a:pos x="57" y="4"/>
                  </a:cxn>
                  <a:cxn ang="0">
                    <a:pos x="25" y="24"/>
                  </a:cxn>
                  <a:cxn ang="0">
                    <a:pos x="11" y="34"/>
                  </a:cxn>
                  <a:cxn ang="0">
                    <a:pos x="9" y="4"/>
                  </a:cxn>
                  <a:cxn ang="0">
                    <a:pos x="21" y="0"/>
                  </a:cxn>
                  <a:cxn ang="0">
                    <a:pos x="57" y="4"/>
                  </a:cxn>
                </a:cxnLst>
                <a:rect l="0" t="0" r="r" b="b"/>
                <a:pathLst>
                  <a:path w="57" h="37">
                    <a:moveTo>
                      <a:pt x="57" y="4"/>
                    </a:moveTo>
                    <a:cubicBezTo>
                      <a:pt x="53" y="16"/>
                      <a:pt x="35" y="17"/>
                      <a:pt x="25" y="24"/>
                    </a:cubicBezTo>
                    <a:cubicBezTo>
                      <a:pt x="22" y="34"/>
                      <a:pt x="22" y="37"/>
                      <a:pt x="11" y="34"/>
                    </a:cubicBezTo>
                    <a:cubicBezTo>
                      <a:pt x="6" y="27"/>
                      <a:pt x="0" y="10"/>
                      <a:pt x="9" y="4"/>
                    </a:cubicBezTo>
                    <a:cubicBezTo>
                      <a:pt x="12" y="2"/>
                      <a:pt x="21" y="0"/>
                      <a:pt x="21" y="0"/>
                    </a:cubicBezTo>
                    <a:cubicBezTo>
                      <a:pt x="33" y="2"/>
                      <a:pt x="45" y="4"/>
                      <a:pt x="57" y="4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" name="未知"/>
              <p:cNvSpPr>
                <a:spLocks/>
              </p:cNvSpPr>
              <p:nvPr/>
            </p:nvSpPr>
            <p:spPr bwMode="auto">
              <a:xfrm>
                <a:off x="1165" y="25"/>
                <a:ext cx="51" cy="20"/>
              </a:xfrm>
              <a:custGeom>
                <a:avLst/>
                <a:gdLst/>
                <a:ahLst/>
                <a:cxnLst>
                  <a:cxn ang="0">
                    <a:pos x="29" y="0"/>
                  </a:cxn>
                  <a:cxn ang="0">
                    <a:pos x="11" y="6"/>
                  </a:cxn>
                  <a:cxn ang="0">
                    <a:pos x="57" y="26"/>
                  </a:cxn>
                  <a:cxn ang="0">
                    <a:pos x="63" y="24"/>
                  </a:cxn>
                  <a:cxn ang="0">
                    <a:pos x="29" y="0"/>
                  </a:cxn>
                </a:cxnLst>
                <a:rect l="0" t="0" r="r" b="b"/>
                <a:pathLst>
                  <a:path w="68" h="26">
                    <a:moveTo>
                      <a:pt x="29" y="0"/>
                    </a:moveTo>
                    <a:cubicBezTo>
                      <a:pt x="23" y="2"/>
                      <a:pt x="11" y="6"/>
                      <a:pt x="11" y="6"/>
                    </a:cubicBezTo>
                    <a:cubicBezTo>
                      <a:pt x="0" y="23"/>
                      <a:pt x="47" y="24"/>
                      <a:pt x="57" y="26"/>
                    </a:cubicBezTo>
                    <a:cubicBezTo>
                      <a:pt x="59" y="25"/>
                      <a:pt x="62" y="26"/>
                      <a:pt x="63" y="24"/>
                    </a:cubicBezTo>
                    <a:cubicBezTo>
                      <a:pt x="68" y="3"/>
                      <a:pt x="42" y="3"/>
                      <a:pt x="29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3" name="未知"/>
              <p:cNvSpPr>
                <a:spLocks/>
              </p:cNvSpPr>
              <p:nvPr/>
            </p:nvSpPr>
            <p:spPr bwMode="auto">
              <a:xfrm>
                <a:off x="1220" y="28"/>
                <a:ext cx="52" cy="32"/>
              </a:xfrm>
              <a:custGeom>
                <a:avLst/>
                <a:gdLst/>
                <a:ahLst/>
                <a:cxnLst>
                  <a:cxn ang="0">
                    <a:pos x="50" y="9"/>
                  </a:cxn>
                  <a:cxn ang="0">
                    <a:pos x="26" y="9"/>
                  </a:cxn>
                  <a:cxn ang="0">
                    <a:pos x="10" y="9"/>
                  </a:cxn>
                  <a:cxn ang="0">
                    <a:pos x="8" y="35"/>
                  </a:cxn>
                  <a:cxn ang="0">
                    <a:pos x="32" y="43"/>
                  </a:cxn>
                  <a:cxn ang="0">
                    <a:pos x="62" y="27"/>
                  </a:cxn>
                  <a:cxn ang="0">
                    <a:pos x="50" y="9"/>
                  </a:cxn>
                </a:cxnLst>
                <a:rect l="0" t="0" r="r" b="b"/>
                <a:pathLst>
                  <a:path w="66" h="43">
                    <a:moveTo>
                      <a:pt x="50" y="9"/>
                    </a:moveTo>
                    <a:cubicBezTo>
                      <a:pt x="40" y="16"/>
                      <a:pt x="36" y="16"/>
                      <a:pt x="26" y="9"/>
                    </a:cubicBezTo>
                    <a:cubicBezTo>
                      <a:pt x="20" y="0"/>
                      <a:pt x="18" y="4"/>
                      <a:pt x="10" y="9"/>
                    </a:cubicBezTo>
                    <a:cubicBezTo>
                      <a:pt x="4" y="17"/>
                      <a:pt x="0" y="21"/>
                      <a:pt x="8" y="35"/>
                    </a:cubicBezTo>
                    <a:cubicBezTo>
                      <a:pt x="12" y="42"/>
                      <a:pt x="32" y="43"/>
                      <a:pt x="32" y="43"/>
                    </a:cubicBezTo>
                    <a:cubicBezTo>
                      <a:pt x="41" y="40"/>
                      <a:pt x="54" y="33"/>
                      <a:pt x="62" y="27"/>
                    </a:cubicBezTo>
                    <a:cubicBezTo>
                      <a:pt x="66" y="15"/>
                      <a:pt x="61" y="15"/>
                      <a:pt x="50" y="9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4" name="未知"/>
              <p:cNvSpPr>
                <a:spLocks/>
              </p:cNvSpPr>
              <p:nvPr/>
            </p:nvSpPr>
            <p:spPr bwMode="auto">
              <a:xfrm>
                <a:off x="1578" y="55"/>
                <a:ext cx="90" cy="31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8" y="16"/>
                  </a:cxn>
                  <a:cxn ang="0">
                    <a:pos x="50" y="30"/>
                  </a:cxn>
                  <a:cxn ang="0">
                    <a:pos x="76" y="36"/>
                  </a:cxn>
                  <a:cxn ang="0">
                    <a:pos x="112" y="22"/>
                  </a:cxn>
                  <a:cxn ang="0">
                    <a:pos x="78" y="4"/>
                  </a:cxn>
                  <a:cxn ang="0">
                    <a:pos x="14" y="0"/>
                  </a:cxn>
                </a:cxnLst>
                <a:rect l="0" t="0" r="r" b="b"/>
                <a:pathLst>
                  <a:path w="117" h="41">
                    <a:moveTo>
                      <a:pt x="14" y="0"/>
                    </a:moveTo>
                    <a:cubicBezTo>
                      <a:pt x="8" y="4"/>
                      <a:pt x="0" y="9"/>
                      <a:pt x="8" y="16"/>
                    </a:cubicBezTo>
                    <a:cubicBezTo>
                      <a:pt x="21" y="27"/>
                      <a:pt x="34" y="28"/>
                      <a:pt x="50" y="30"/>
                    </a:cubicBezTo>
                    <a:cubicBezTo>
                      <a:pt x="66" y="41"/>
                      <a:pt x="57" y="39"/>
                      <a:pt x="76" y="36"/>
                    </a:cubicBezTo>
                    <a:cubicBezTo>
                      <a:pt x="88" y="32"/>
                      <a:pt x="101" y="29"/>
                      <a:pt x="112" y="22"/>
                    </a:cubicBezTo>
                    <a:cubicBezTo>
                      <a:pt x="117" y="6"/>
                      <a:pt x="87" y="5"/>
                      <a:pt x="78" y="4"/>
                    </a:cubicBezTo>
                    <a:cubicBezTo>
                      <a:pt x="17" y="6"/>
                      <a:pt x="34" y="20"/>
                      <a:pt x="14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5" name="未知"/>
              <p:cNvSpPr>
                <a:spLocks/>
              </p:cNvSpPr>
              <p:nvPr/>
            </p:nvSpPr>
            <p:spPr bwMode="auto">
              <a:xfrm>
                <a:off x="1670" y="54"/>
                <a:ext cx="47" cy="24"/>
              </a:xfrm>
              <a:custGeom>
                <a:avLst/>
                <a:gdLst/>
                <a:ahLst/>
                <a:cxnLst>
                  <a:cxn ang="0">
                    <a:pos x="32" y="4"/>
                  </a:cxn>
                  <a:cxn ang="0">
                    <a:pos x="62" y="10"/>
                  </a:cxn>
                  <a:cxn ang="0">
                    <a:pos x="30" y="32"/>
                  </a:cxn>
                  <a:cxn ang="0">
                    <a:pos x="6" y="22"/>
                  </a:cxn>
                  <a:cxn ang="0">
                    <a:pos x="32" y="4"/>
                  </a:cxn>
                </a:cxnLst>
                <a:rect l="0" t="0" r="r" b="b"/>
                <a:pathLst>
                  <a:path w="62" h="32">
                    <a:moveTo>
                      <a:pt x="32" y="4"/>
                    </a:moveTo>
                    <a:cubicBezTo>
                      <a:pt x="44" y="0"/>
                      <a:pt x="53" y="1"/>
                      <a:pt x="62" y="10"/>
                    </a:cubicBezTo>
                    <a:cubicBezTo>
                      <a:pt x="59" y="23"/>
                      <a:pt x="42" y="28"/>
                      <a:pt x="30" y="32"/>
                    </a:cubicBezTo>
                    <a:cubicBezTo>
                      <a:pt x="15" y="22"/>
                      <a:pt x="23" y="25"/>
                      <a:pt x="6" y="22"/>
                    </a:cubicBezTo>
                    <a:cubicBezTo>
                      <a:pt x="0" y="4"/>
                      <a:pt x="14" y="8"/>
                      <a:pt x="32" y="4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6" name="未知"/>
              <p:cNvSpPr>
                <a:spLocks/>
              </p:cNvSpPr>
              <p:nvPr/>
            </p:nvSpPr>
            <p:spPr bwMode="auto">
              <a:xfrm>
                <a:off x="1649" y="83"/>
                <a:ext cx="38" cy="16"/>
              </a:xfrm>
              <a:custGeom>
                <a:avLst/>
                <a:gdLst/>
                <a:ahLst/>
                <a:cxnLst>
                  <a:cxn ang="0">
                    <a:pos x="20" y="1"/>
                  </a:cxn>
                  <a:cxn ang="0">
                    <a:pos x="6" y="5"/>
                  </a:cxn>
                  <a:cxn ang="0">
                    <a:pos x="38" y="23"/>
                  </a:cxn>
                  <a:cxn ang="0">
                    <a:pos x="20" y="1"/>
                  </a:cxn>
                </a:cxnLst>
                <a:rect l="0" t="0" r="r" b="b"/>
                <a:pathLst>
                  <a:path w="49" h="23">
                    <a:moveTo>
                      <a:pt x="20" y="1"/>
                    </a:moveTo>
                    <a:cubicBezTo>
                      <a:pt x="15" y="2"/>
                      <a:pt x="8" y="0"/>
                      <a:pt x="6" y="5"/>
                    </a:cubicBezTo>
                    <a:cubicBezTo>
                      <a:pt x="0" y="19"/>
                      <a:pt x="32" y="21"/>
                      <a:pt x="38" y="23"/>
                    </a:cubicBezTo>
                    <a:cubicBezTo>
                      <a:pt x="49" y="6"/>
                      <a:pt x="35" y="3"/>
                      <a:pt x="20" y="1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7" name="未知"/>
              <p:cNvSpPr>
                <a:spLocks/>
              </p:cNvSpPr>
              <p:nvPr/>
            </p:nvSpPr>
            <p:spPr bwMode="auto">
              <a:xfrm>
                <a:off x="1907" y="306"/>
                <a:ext cx="78" cy="113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0" y="18"/>
                  </a:cxn>
                  <a:cxn ang="0">
                    <a:pos x="14" y="42"/>
                  </a:cxn>
                  <a:cxn ang="0">
                    <a:pos x="32" y="72"/>
                  </a:cxn>
                  <a:cxn ang="0">
                    <a:pos x="36" y="104"/>
                  </a:cxn>
                  <a:cxn ang="0">
                    <a:pos x="80" y="152"/>
                  </a:cxn>
                  <a:cxn ang="0">
                    <a:pos x="86" y="124"/>
                  </a:cxn>
                  <a:cxn ang="0">
                    <a:pos x="74" y="102"/>
                  </a:cxn>
                  <a:cxn ang="0">
                    <a:pos x="62" y="92"/>
                  </a:cxn>
                  <a:cxn ang="0">
                    <a:pos x="52" y="74"/>
                  </a:cxn>
                  <a:cxn ang="0">
                    <a:pos x="42" y="44"/>
                  </a:cxn>
                  <a:cxn ang="0">
                    <a:pos x="4" y="12"/>
                  </a:cxn>
                  <a:cxn ang="0">
                    <a:pos x="6" y="0"/>
                  </a:cxn>
                </a:cxnLst>
                <a:rect l="0" t="0" r="r" b="b"/>
                <a:pathLst>
                  <a:path w="102" h="152">
                    <a:moveTo>
                      <a:pt x="6" y="0"/>
                    </a:moveTo>
                    <a:cubicBezTo>
                      <a:pt x="4" y="6"/>
                      <a:pt x="0" y="18"/>
                      <a:pt x="0" y="18"/>
                    </a:cubicBezTo>
                    <a:cubicBezTo>
                      <a:pt x="3" y="26"/>
                      <a:pt x="9" y="35"/>
                      <a:pt x="14" y="42"/>
                    </a:cubicBezTo>
                    <a:cubicBezTo>
                      <a:pt x="17" y="58"/>
                      <a:pt x="16" y="69"/>
                      <a:pt x="32" y="72"/>
                    </a:cubicBezTo>
                    <a:cubicBezTo>
                      <a:pt x="44" y="80"/>
                      <a:pt x="40" y="91"/>
                      <a:pt x="36" y="104"/>
                    </a:cubicBezTo>
                    <a:cubicBezTo>
                      <a:pt x="57" y="118"/>
                      <a:pt x="60" y="139"/>
                      <a:pt x="80" y="152"/>
                    </a:cubicBezTo>
                    <a:cubicBezTo>
                      <a:pt x="95" y="148"/>
                      <a:pt x="102" y="135"/>
                      <a:pt x="86" y="124"/>
                    </a:cubicBezTo>
                    <a:cubicBezTo>
                      <a:pt x="72" y="129"/>
                      <a:pt x="78" y="110"/>
                      <a:pt x="74" y="102"/>
                    </a:cubicBezTo>
                    <a:cubicBezTo>
                      <a:pt x="72" y="98"/>
                      <a:pt x="65" y="94"/>
                      <a:pt x="62" y="92"/>
                    </a:cubicBezTo>
                    <a:cubicBezTo>
                      <a:pt x="59" y="82"/>
                      <a:pt x="65" y="65"/>
                      <a:pt x="52" y="74"/>
                    </a:cubicBezTo>
                    <a:cubicBezTo>
                      <a:pt x="46" y="65"/>
                      <a:pt x="47" y="54"/>
                      <a:pt x="42" y="44"/>
                    </a:cubicBezTo>
                    <a:cubicBezTo>
                      <a:pt x="36" y="32"/>
                      <a:pt x="16" y="18"/>
                      <a:pt x="4" y="12"/>
                    </a:cubicBez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8" name="未知"/>
              <p:cNvSpPr>
                <a:spLocks/>
              </p:cNvSpPr>
              <p:nvPr/>
            </p:nvSpPr>
            <p:spPr bwMode="auto">
              <a:xfrm>
                <a:off x="1970" y="423"/>
                <a:ext cx="56" cy="78"/>
              </a:xfrm>
              <a:custGeom>
                <a:avLst/>
                <a:gdLst/>
                <a:ahLst/>
                <a:cxnLst>
                  <a:cxn ang="0">
                    <a:pos x="64" y="22"/>
                  </a:cxn>
                  <a:cxn ang="0">
                    <a:pos x="74" y="40"/>
                  </a:cxn>
                  <a:cxn ang="0">
                    <a:pos x="30" y="84"/>
                  </a:cxn>
                  <a:cxn ang="0">
                    <a:pos x="32" y="100"/>
                  </a:cxn>
                  <a:cxn ang="0">
                    <a:pos x="20" y="94"/>
                  </a:cxn>
                  <a:cxn ang="0">
                    <a:pos x="6" y="84"/>
                  </a:cxn>
                  <a:cxn ang="0">
                    <a:pos x="0" y="82"/>
                  </a:cxn>
                  <a:cxn ang="0">
                    <a:pos x="10" y="58"/>
                  </a:cxn>
                  <a:cxn ang="0">
                    <a:pos x="12" y="52"/>
                  </a:cxn>
                  <a:cxn ang="0">
                    <a:pos x="2" y="24"/>
                  </a:cxn>
                  <a:cxn ang="0">
                    <a:pos x="4" y="14"/>
                  </a:cxn>
                  <a:cxn ang="0">
                    <a:pos x="26" y="22"/>
                  </a:cxn>
                  <a:cxn ang="0">
                    <a:pos x="36" y="36"/>
                  </a:cxn>
                  <a:cxn ang="0">
                    <a:pos x="64" y="22"/>
                  </a:cxn>
                </a:cxnLst>
                <a:rect l="0" t="0" r="r" b="b"/>
                <a:pathLst>
                  <a:path w="74" h="103">
                    <a:moveTo>
                      <a:pt x="64" y="22"/>
                    </a:moveTo>
                    <a:cubicBezTo>
                      <a:pt x="73" y="36"/>
                      <a:pt x="70" y="29"/>
                      <a:pt x="74" y="40"/>
                    </a:cubicBezTo>
                    <a:cubicBezTo>
                      <a:pt x="70" y="77"/>
                      <a:pt x="68" y="81"/>
                      <a:pt x="30" y="84"/>
                    </a:cubicBezTo>
                    <a:cubicBezTo>
                      <a:pt x="33" y="88"/>
                      <a:pt x="39" y="95"/>
                      <a:pt x="32" y="100"/>
                    </a:cubicBezTo>
                    <a:cubicBezTo>
                      <a:pt x="28" y="103"/>
                      <a:pt x="24" y="95"/>
                      <a:pt x="20" y="94"/>
                    </a:cubicBezTo>
                    <a:cubicBezTo>
                      <a:pt x="17" y="84"/>
                      <a:pt x="20" y="89"/>
                      <a:pt x="6" y="84"/>
                    </a:cubicBezTo>
                    <a:cubicBezTo>
                      <a:pt x="4" y="83"/>
                      <a:pt x="0" y="82"/>
                      <a:pt x="0" y="82"/>
                    </a:cubicBezTo>
                    <a:cubicBezTo>
                      <a:pt x="3" y="73"/>
                      <a:pt x="7" y="67"/>
                      <a:pt x="10" y="58"/>
                    </a:cubicBezTo>
                    <a:cubicBezTo>
                      <a:pt x="11" y="56"/>
                      <a:pt x="12" y="52"/>
                      <a:pt x="12" y="52"/>
                    </a:cubicBezTo>
                    <a:cubicBezTo>
                      <a:pt x="10" y="42"/>
                      <a:pt x="8" y="33"/>
                      <a:pt x="2" y="24"/>
                    </a:cubicBezTo>
                    <a:cubicBezTo>
                      <a:pt x="3" y="21"/>
                      <a:pt x="2" y="17"/>
                      <a:pt x="4" y="14"/>
                    </a:cubicBezTo>
                    <a:cubicBezTo>
                      <a:pt x="11" y="0"/>
                      <a:pt x="18" y="19"/>
                      <a:pt x="26" y="22"/>
                    </a:cubicBezTo>
                    <a:cubicBezTo>
                      <a:pt x="31" y="36"/>
                      <a:pt x="26" y="33"/>
                      <a:pt x="36" y="36"/>
                    </a:cubicBezTo>
                    <a:cubicBezTo>
                      <a:pt x="45" y="30"/>
                      <a:pt x="55" y="28"/>
                      <a:pt x="64" y="22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9" name="未知"/>
              <p:cNvSpPr>
                <a:spLocks/>
              </p:cNvSpPr>
              <p:nvPr/>
            </p:nvSpPr>
            <p:spPr bwMode="auto">
              <a:xfrm>
                <a:off x="1933" y="503"/>
                <a:ext cx="111" cy="188"/>
              </a:xfrm>
              <a:custGeom>
                <a:avLst/>
                <a:gdLst/>
                <a:ahLst/>
                <a:cxnLst>
                  <a:cxn ang="0">
                    <a:pos x="82" y="100"/>
                  </a:cxn>
                  <a:cxn ang="0">
                    <a:pos x="66" y="106"/>
                  </a:cxn>
                  <a:cxn ang="0">
                    <a:pos x="64" y="132"/>
                  </a:cxn>
                  <a:cxn ang="0">
                    <a:pos x="22" y="146"/>
                  </a:cxn>
                  <a:cxn ang="0">
                    <a:pos x="8" y="168"/>
                  </a:cxn>
                  <a:cxn ang="0">
                    <a:pos x="20" y="182"/>
                  </a:cxn>
                  <a:cxn ang="0">
                    <a:pos x="8" y="198"/>
                  </a:cxn>
                  <a:cxn ang="0">
                    <a:pos x="24" y="252"/>
                  </a:cxn>
                  <a:cxn ang="0">
                    <a:pos x="28" y="214"/>
                  </a:cxn>
                  <a:cxn ang="0">
                    <a:pos x="22" y="192"/>
                  </a:cxn>
                  <a:cxn ang="0">
                    <a:pos x="42" y="176"/>
                  </a:cxn>
                  <a:cxn ang="0">
                    <a:pos x="52" y="158"/>
                  </a:cxn>
                  <a:cxn ang="0">
                    <a:pos x="66" y="174"/>
                  </a:cxn>
                  <a:cxn ang="0">
                    <a:pos x="44" y="190"/>
                  </a:cxn>
                  <a:cxn ang="0">
                    <a:pos x="56" y="200"/>
                  </a:cxn>
                  <a:cxn ang="0">
                    <a:pos x="68" y="178"/>
                  </a:cxn>
                  <a:cxn ang="0">
                    <a:pos x="84" y="184"/>
                  </a:cxn>
                  <a:cxn ang="0">
                    <a:pos x="104" y="148"/>
                  </a:cxn>
                  <a:cxn ang="0">
                    <a:pos x="114" y="156"/>
                  </a:cxn>
                  <a:cxn ang="0">
                    <a:pos x="136" y="148"/>
                  </a:cxn>
                  <a:cxn ang="0">
                    <a:pos x="146" y="130"/>
                  </a:cxn>
                  <a:cxn ang="0">
                    <a:pos x="142" y="110"/>
                  </a:cxn>
                  <a:cxn ang="0">
                    <a:pos x="134" y="98"/>
                  </a:cxn>
                  <a:cxn ang="0">
                    <a:pos x="122" y="40"/>
                  </a:cxn>
                  <a:cxn ang="0">
                    <a:pos x="94" y="0"/>
                  </a:cxn>
                  <a:cxn ang="0">
                    <a:pos x="78" y="12"/>
                  </a:cxn>
                  <a:cxn ang="0">
                    <a:pos x="96" y="34"/>
                  </a:cxn>
                  <a:cxn ang="0">
                    <a:pos x="96" y="64"/>
                  </a:cxn>
                  <a:cxn ang="0">
                    <a:pos x="82" y="100"/>
                  </a:cxn>
                </a:cxnLst>
                <a:rect l="0" t="0" r="r" b="b"/>
                <a:pathLst>
                  <a:path w="146" h="252">
                    <a:moveTo>
                      <a:pt x="82" y="100"/>
                    </a:moveTo>
                    <a:cubicBezTo>
                      <a:pt x="70" y="88"/>
                      <a:pt x="69" y="92"/>
                      <a:pt x="66" y="106"/>
                    </a:cubicBezTo>
                    <a:cubicBezTo>
                      <a:pt x="65" y="115"/>
                      <a:pt x="68" y="124"/>
                      <a:pt x="64" y="132"/>
                    </a:cubicBezTo>
                    <a:cubicBezTo>
                      <a:pt x="63" y="133"/>
                      <a:pt x="28" y="142"/>
                      <a:pt x="22" y="146"/>
                    </a:cubicBezTo>
                    <a:cubicBezTo>
                      <a:pt x="18" y="157"/>
                      <a:pt x="18" y="162"/>
                      <a:pt x="8" y="168"/>
                    </a:cubicBezTo>
                    <a:cubicBezTo>
                      <a:pt x="0" y="180"/>
                      <a:pt x="7" y="180"/>
                      <a:pt x="20" y="182"/>
                    </a:cubicBezTo>
                    <a:cubicBezTo>
                      <a:pt x="17" y="190"/>
                      <a:pt x="15" y="193"/>
                      <a:pt x="8" y="198"/>
                    </a:cubicBezTo>
                    <a:cubicBezTo>
                      <a:pt x="10" y="214"/>
                      <a:pt x="9" y="242"/>
                      <a:pt x="24" y="252"/>
                    </a:cubicBezTo>
                    <a:cubicBezTo>
                      <a:pt x="42" y="246"/>
                      <a:pt x="31" y="227"/>
                      <a:pt x="28" y="214"/>
                    </a:cubicBezTo>
                    <a:cubicBezTo>
                      <a:pt x="26" y="207"/>
                      <a:pt x="22" y="192"/>
                      <a:pt x="22" y="192"/>
                    </a:cubicBezTo>
                    <a:cubicBezTo>
                      <a:pt x="25" y="180"/>
                      <a:pt x="33" y="182"/>
                      <a:pt x="42" y="176"/>
                    </a:cubicBezTo>
                    <a:cubicBezTo>
                      <a:pt x="44" y="169"/>
                      <a:pt x="52" y="158"/>
                      <a:pt x="52" y="158"/>
                    </a:cubicBezTo>
                    <a:cubicBezTo>
                      <a:pt x="58" y="164"/>
                      <a:pt x="63" y="166"/>
                      <a:pt x="66" y="174"/>
                    </a:cubicBezTo>
                    <a:cubicBezTo>
                      <a:pt x="59" y="178"/>
                      <a:pt x="51" y="188"/>
                      <a:pt x="44" y="190"/>
                    </a:cubicBezTo>
                    <a:cubicBezTo>
                      <a:pt x="36" y="202"/>
                      <a:pt x="46" y="202"/>
                      <a:pt x="56" y="200"/>
                    </a:cubicBezTo>
                    <a:cubicBezTo>
                      <a:pt x="60" y="189"/>
                      <a:pt x="59" y="184"/>
                      <a:pt x="68" y="178"/>
                    </a:cubicBezTo>
                    <a:cubicBezTo>
                      <a:pt x="77" y="181"/>
                      <a:pt x="75" y="187"/>
                      <a:pt x="84" y="184"/>
                    </a:cubicBezTo>
                    <a:cubicBezTo>
                      <a:pt x="92" y="171"/>
                      <a:pt x="91" y="157"/>
                      <a:pt x="104" y="148"/>
                    </a:cubicBezTo>
                    <a:cubicBezTo>
                      <a:pt x="108" y="149"/>
                      <a:pt x="110" y="155"/>
                      <a:pt x="114" y="156"/>
                    </a:cubicBezTo>
                    <a:cubicBezTo>
                      <a:pt x="120" y="158"/>
                      <a:pt x="131" y="151"/>
                      <a:pt x="136" y="148"/>
                    </a:cubicBezTo>
                    <a:cubicBezTo>
                      <a:pt x="145" y="134"/>
                      <a:pt x="142" y="141"/>
                      <a:pt x="146" y="130"/>
                    </a:cubicBezTo>
                    <a:cubicBezTo>
                      <a:pt x="146" y="127"/>
                      <a:pt x="145" y="115"/>
                      <a:pt x="142" y="110"/>
                    </a:cubicBezTo>
                    <a:cubicBezTo>
                      <a:pt x="140" y="106"/>
                      <a:pt x="134" y="98"/>
                      <a:pt x="134" y="98"/>
                    </a:cubicBezTo>
                    <a:cubicBezTo>
                      <a:pt x="131" y="78"/>
                      <a:pt x="142" y="53"/>
                      <a:pt x="122" y="40"/>
                    </a:cubicBezTo>
                    <a:cubicBezTo>
                      <a:pt x="112" y="26"/>
                      <a:pt x="109" y="10"/>
                      <a:pt x="94" y="0"/>
                    </a:cubicBezTo>
                    <a:cubicBezTo>
                      <a:pt x="87" y="4"/>
                      <a:pt x="86" y="9"/>
                      <a:pt x="78" y="12"/>
                    </a:cubicBezTo>
                    <a:cubicBezTo>
                      <a:pt x="67" y="29"/>
                      <a:pt x="80" y="31"/>
                      <a:pt x="96" y="34"/>
                    </a:cubicBezTo>
                    <a:cubicBezTo>
                      <a:pt x="103" y="44"/>
                      <a:pt x="100" y="53"/>
                      <a:pt x="96" y="64"/>
                    </a:cubicBezTo>
                    <a:cubicBezTo>
                      <a:pt x="96" y="68"/>
                      <a:pt x="95" y="106"/>
                      <a:pt x="82" y="10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0" name="未知"/>
              <p:cNvSpPr>
                <a:spLocks/>
              </p:cNvSpPr>
              <p:nvPr/>
            </p:nvSpPr>
            <p:spPr bwMode="auto">
              <a:xfrm>
                <a:off x="845" y="1"/>
                <a:ext cx="53" cy="30"/>
              </a:xfrm>
              <a:custGeom>
                <a:avLst/>
                <a:gdLst/>
                <a:ahLst/>
                <a:cxnLst>
                  <a:cxn ang="0">
                    <a:pos x="59" y="0"/>
                  </a:cxn>
                  <a:cxn ang="0">
                    <a:pos x="65" y="20"/>
                  </a:cxn>
                  <a:cxn ang="0">
                    <a:pos x="41" y="24"/>
                  </a:cxn>
                  <a:cxn ang="0">
                    <a:pos x="31" y="40"/>
                  </a:cxn>
                  <a:cxn ang="0">
                    <a:pos x="7" y="38"/>
                  </a:cxn>
                  <a:cxn ang="0">
                    <a:pos x="1" y="36"/>
                  </a:cxn>
                  <a:cxn ang="0">
                    <a:pos x="33" y="20"/>
                  </a:cxn>
                  <a:cxn ang="0">
                    <a:pos x="59" y="0"/>
                  </a:cxn>
                </a:cxnLst>
                <a:rect l="0" t="0" r="r" b="b"/>
                <a:pathLst>
                  <a:path w="70" h="40">
                    <a:moveTo>
                      <a:pt x="59" y="0"/>
                    </a:moveTo>
                    <a:cubicBezTo>
                      <a:pt x="68" y="3"/>
                      <a:pt x="70" y="10"/>
                      <a:pt x="65" y="20"/>
                    </a:cubicBezTo>
                    <a:cubicBezTo>
                      <a:pt x="61" y="27"/>
                      <a:pt x="49" y="23"/>
                      <a:pt x="41" y="24"/>
                    </a:cubicBezTo>
                    <a:cubicBezTo>
                      <a:pt x="36" y="38"/>
                      <a:pt x="41" y="34"/>
                      <a:pt x="31" y="40"/>
                    </a:cubicBezTo>
                    <a:cubicBezTo>
                      <a:pt x="23" y="39"/>
                      <a:pt x="15" y="39"/>
                      <a:pt x="7" y="38"/>
                    </a:cubicBezTo>
                    <a:cubicBezTo>
                      <a:pt x="5" y="38"/>
                      <a:pt x="0" y="38"/>
                      <a:pt x="1" y="36"/>
                    </a:cubicBezTo>
                    <a:cubicBezTo>
                      <a:pt x="7" y="26"/>
                      <a:pt x="23" y="23"/>
                      <a:pt x="33" y="20"/>
                    </a:cubicBezTo>
                    <a:cubicBezTo>
                      <a:pt x="39" y="11"/>
                      <a:pt x="51" y="8"/>
                      <a:pt x="59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1" name="未知"/>
              <p:cNvSpPr>
                <a:spLocks/>
              </p:cNvSpPr>
              <p:nvPr/>
            </p:nvSpPr>
            <p:spPr bwMode="auto">
              <a:xfrm>
                <a:off x="735" y="10"/>
                <a:ext cx="20" cy="2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0" y="18"/>
                  </a:cxn>
                  <a:cxn ang="0">
                    <a:pos x="18" y="26"/>
                  </a:cxn>
                  <a:cxn ang="0">
                    <a:pos x="18" y="0"/>
                  </a:cxn>
                </a:cxnLst>
                <a:rect l="0" t="0" r="r" b="b"/>
                <a:pathLst>
                  <a:path w="26" h="29">
                    <a:moveTo>
                      <a:pt x="18" y="0"/>
                    </a:moveTo>
                    <a:cubicBezTo>
                      <a:pt x="9" y="6"/>
                      <a:pt x="4" y="7"/>
                      <a:pt x="0" y="18"/>
                    </a:cubicBezTo>
                    <a:cubicBezTo>
                      <a:pt x="7" y="25"/>
                      <a:pt x="9" y="29"/>
                      <a:pt x="18" y="26"/>
                    </a:cubicBezTo>
                    <a:cubicBezTo>
                      <a:pt x="22" y="14"/>
                      <a:pt x="26" y="12"/>
                      <a:pt x="18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2" name="未知"/>
              <p:cNvSpPr>
                <a:spLocks/>
              </p:cNvSpPr>
              <p:nvPr/>
            </p:nvSpPr>
            <p:spPr bwMode="auto">
              <a:xfrm>
                <a:off x="760" y="9"/>
                <a:ext cx="38" cy="27"/>
              </a:xfrm>
              <a:custGeom>
                <a:avLst/>
                <a:gdLst/>
                <a:ahLst/>
                <a:cxnLst>
                  <a:cxn ang="0">
                    <a:pos x="14" y="6"/>
                  </a:cxn>
                  <a:cxn ang="0">
                    <a:pos x="0" y="18"/>
                  </a:cxn>
                  <a:cxn ang="0">
                    <a:pos x="6" y="32"/>
                  </a:cxn>
                  <a:cxn ang="0">
                    <a:pos x="18" y="36"/>
                  </a:cxn>
                  <a:cxn ang="0">
                    <a:pos x="40" y="26"/>
                  </a:cxn>
                  <a:cxn ang="0">
                    <a:pos x="14" y="6"/>
                  </a:cxn>
                </a:cxnLst>
                <a:rect l="0" t="0" r="r" b="b"/>
                <a:pathLst>
                  <a:path w="49" h="36">
                    <a:moveTo>
                      <a:pt x="14" y="6"/>
                    </a:moveTo>
                    <a:cubicBezTo>
                      <a:pt x="11" y="14"/>
                      <a:pt x="7" y="13"/>
                      <a:pt x="0" y="18"/>
                    </a:cubicBezTo>
                    <a:cubicBezTo>
                      <a:pt x="1" y="22"/>
                      <a:pt x="2" y="29"/>
                      <a:pt x="6" y="32"/>
                    </a:cubicBezTo>
                    <a:cubicBezTo>
                      <a:pt x="10" y="34"/>
                      <a:pt x="18" y="36"/>
                      <a:pt x="18" y="36"/>
                    </a:cubicBezTo>
                    <a:cubicBezTo>
                      <a:pt x="24" y="27"/>
                      <a:pt x="30" y="28"/>
                      <a:pt x="40" y="26"/>
                    </a:cubicBezTo>
                    <a:cubicBezTo>
                      <a:pt x="49" y="0"/>
                      <a:pt x="26" y="18"/>
                      <a:pt x="14" y="6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3" name="未知"/>
              <p:cNvSpPr>
                <a:spLocks/>
              </p:cNvSpPr>
              <p:nvPr/>
            </p:nvSpPr>
            <p:spPr bwMode="auto">
              <a:xfrm>
                <a:off x="823" y="0"/>
                <a:ext cx="20" cy="16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3" y="12"/>
                  </a:cxn>
                  <a:cxn ang="0">
                    <a:pos x="19" y="22"/>
                  </a:cxn>
                  <a:cxn ang="0">
                    <a:pos x="11" y="0"/>
                  </a:cxn>
                </a:cxnLst>
                <a:rect l="0" t="0" r="r" b="b"/>
                <a:pathLst>
                  <a:path w="27" h="22">
                    <a:moveTo>
                      <a:pt x="11" y="0"/>
                    </a:moveTo>
                    <a:cubicBezTo>
                      <a:pt x="8" y="4"/>
                      <a:pt x="0" y="8"/>
                      <a:pt x="3" y="12"/>
                    </a:cubicBezTo>
                    <a:cubicBezTo>
                      <a:pt x="6" y="17"/>
                      <a:pt x="19" y="22"/>
                      <a:pt x="19" y="22"/>
                    </a:cubicBezTo>
                    <a:cubicBezTo>
                      <a:pt x="27" y="10"/>
                      <a:pt x="15" y="11"/>
                      <a:pt x="11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4" name="未知"/>
              <p:cNvSpPr>
                <a:spLocks/>
              </p:cNvSpPr>
              <p:nvPr/>
            </p:nvSpPr>
            <p:spPr bwMode="auto">
              <a:xfrm>
                <a:off x="804" y="18"/>
                <a:ext cx="15" cy="13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9" y="18"/>
                  </a:cxn>
                  <a:cxn ang="0">
                    <a:pos x="11" y="0"/>
                  </a:cxn>
                </a:cxnLst>
                <a:rect l="0" t="0" r="r" b="b"/>
                <a:pathLst>
                  <a:path w="20" h="18">
                    <a:moveTo>
                      <a:pt x="11" y="0"/>
                    </a:moveTo>
                    <a:cubicBezTo>
                      <a:pt x="1" y="14"/>
                      <a:pt x="0" y="9"/>
                      <a:pt x="9" y="18"/>
                    </a:cubicBezTo>
                    <a:cubicBezTo>
                      <a:pt x="20" y="14"/>
                      <a:pt x="16" y="18"/>
                      <a:pt x="11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5" name="未知"/>
              <p:cNvSpPr>
                <a:spLocks/>
              </p:cNvSpPr>
              <p:nvPr/>
            </p:nvSpPr>
            <p:spPr bwMode="auto">
              <a:xfrm>
                <a:off x="1973" y="34"/>
                <a:ext cx="18" cy="33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8" y="16"/>
                  </a:cxn>
                  <a:cxn ang="0">
                    <a:pos x="0" y="34"/>
                  </a:cxn>
                  <a:cxn ang="0">
                    <a:pos x="16" y="40"/>
                  </a:cxn>
                  <a:cxn ang="0">
                    <a:pos x="24" y="0"/>
                  </a:cxn>
                </a:cxnLst>
                <a:rect l="0" t="0" r="r" b="b"/>
                <a:pathLst>
                  <a:path w="24" h="44">
                    <a:moveTo>
                      <a:pt x="24" y="0"/>
                    </a:moveTo>
                    <a:cubicBezTo>
                      <a:pt x="19" y="7"/>
                      <a:pt x="15" y="11"/>
                      <a:pt x="8" y="16"/>
                    </a:cubicBezTo>
                    <a:cubicBezTo>
                      <a:pt x="4" y="21"/>
                      <a:pt x="0" y="34"/>
                      <a:pt x="0" y="34"/>
                    </a:cubicBezTo>
                    <a:cubicBezTo>
                      <a:pt x="3" y="44"/>
                      <a:pt x="7" y="42"/>
                      <a:pt x="16" y="40"/>
                    </a:cubicBezTo>
                    <a:cubicBezTo>
                      <a:pt x="20" y="27"/>
                      <a:pt x="24" y="14"/>
                      <a:pt x="24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6" name="未知"/>
              <p:cNvSpPr>
                <a:spLocks/>
              </p:cNvSpPr>
              <p:nvPr/>
            </p:nvSpPr>
            <p:spPr bwMode="auto">
              <a:xfrm>
                <a:off x="1067" y="1480"/>
                <a:ext cx="31" cy="18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26" y="24"/>
                  </a:cxn>
                  <a:cxn ang="0">
                    <a:pos x="30" y="0"/>
                  </a:cxn>
                </a:cxnLst>
                <a:rect l="0" t="0" r="r" b="b"/>
                <a:pathLst>
                  <a:path w="41" h="24">
                    <a:moveTo>
                      <a:pt x="30" y="0"/>
                    </a:moveTo>
                    <a:cubicBezTo>
                      <a:pt x="4" y="4"/>
                      <a:pt x="0" y="17"/>
                      <a:pt x="26" y="24"/>
                    </a:cubicBezTo>
                    <a:cubicBezTo>
                      <a:pt x="41" y="19"/>
                      <a:pt x="38" y="10"/>
                      <a:pt x="30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7" name="未知"/>
              <p:cNvSpPr>
                <a:spLocks/>
              </p:cNvSpPr>
              <p:nvPr/>
            </p:nvSpPr>
            <p:spPr bwMode="auto">
              <a:xfrm>
                <a:off x="1108" y="1473"/>
                <a:ext cx="10" cy="15"/>
              </a:xfrm>
              <a:custGeom>
                <a:avLst/>
                <a:gdLst/>
                <a:ahLst/>
                <a:cxnLst>
                  <a:cxn ang="0">
                    <a:pos x="10" y="5"/>
                  </a:cxn>
                  <a:cxn ang="0">
                    <a:pos x="1" y="11"/>
                  </a:cxn>
                  <a:cxn ang="0">
                    <a:pos x="9" y="20"/>
                  </a:cxn>
                  <a:cxn ang="0">
                    <a:pos x="10" y="5"/>
                  </a:cxn>
                </a:cxnLst>
                <a:rect l="0" t="0" r="r" b="b"/>
                <a:pathLst>
                  <a:path w="13" h="20">
                    <a:moveTo>
                      <a:pt x="10" y="5"/>
                    </a:moveTo>
                    <a:cubicBezTo>
                      <a:pt x="3" y="0"/>
                      <a:pt x="5" y="6"/>
                      <a:pt x="1" y="11"/>
                    </a:cubicBezTo>
                    <a:cubicBezTo>
                      <a:pt x="0" y="18"/>
                      <a:pt x="2" y="19"/>
                      <a:pt x="9" y="20"/>
                    </a:cubicBezTo>
                    <a:cubicBezTo>
                      <a:pt x="13" y="14"/>
                      <a:pt x="10" y="12"/>
                      <a:pt x="10" y="5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8" name="未知"/>
              <p:cNvSpPr>
                <a:spLocks/>
              </p:cNvSpPr>
              <p:nvPr/>
            </p:nvSpPr>
            <p:spPr bwMode="auto">
              <a:xfrm>
                <a:off x="1039" y="1320"/>
                <a:ext cx="9" cy="15"/>
              </a:xfrm>
              <a:custGeom>
                <a:avLst/>
                <a:gdLst/>
                <a:ahLst/>
                <a:cxnLst>
                  <a:cxn ang="0">
                    <a:pos x="10" y="5"/>
                  </a:cxn>
                  <a:cxn ang="0">
                    <a:pos x="1" y="11"/>
                  </a:cxn>
                  <a:cxn ang="0">
                    <a:pos x="9" y="20"/>
                  </a:cxn>
                  <a:cxn ang="0">
                    <a:pos x="10" y="5"/>
                  </a:cxn>
                </a:cxnLst>
                <a:rect l="0" t="0" r="r" b="b"/>
                <a:pathLst>
                  <a:path w="13" h="20">
                    <a:moveTo>
                      <a:pt x="10" y="5"/>
                    </a:moveTo>
                    <a:cubicBezTo>
                      <a:pt x="3" y="0"/>
                      <a:pt x="5" y="6"/>
                      <a:pt x="1" y="11"/>
                    </a:cubicBezTo>
                    <a:cubicBezTo>
                      <a:pt x="0" y="18"/>
                      <a:pt x="2" y="19"/>
                      <a:pt x="9" y="20"/>
                    </a:cubicBezTo>
                    <a:cubicBezTo>
                      <a:pt x="13" y="14"/>
                      <a:pt x="10" y="12"/>
                      <a:pt x="10" y="5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9" name="未知"/>
              <p:cNvSpPr>
                <a:spLocks/>
              </p:cNvSpPr>
              <p:nvPr/>
            </p:nvSpPr>
            <p:spPr bwMode="auto">
              <a:xfrm>
                <a:off x="1100" y="1247"/>
                <a:ext cx="12" cy="19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0" y="13"/>
                  </a:cxn>
                  <a:cxn ang="0">
                    <a:pos x="12" y="24"/>
                  </a:cxn>
                  <a:cxn ang="0">
                    <a:pos x="6" y="0"/>
                  </a:cxn>
                </a:cxnLst>
                <a:rect l="0" t="0" r="r" b="b"/>
                <a:pathLst>
                  <a:path w="14" h="25">
                    <a:moveTo>
                      <a:pt x="6" y="0"/>
                    </a:moveTo>
                    <a:cubicBezTo>
                      <a:pt x="4" y="5"/>
                      <a:pt x="3" y="9"/>
                      <a:pt x="0" y="13"/>
                    </a:cubicBezTo>
                    <a:cubicBezTo>
                      <a:pt x="1" y="24"/>
                      <a:pt x="1" y="25"/>
                      <a:pt x="12" y="24"/>
                    </a:cubicBezTo>
                    <a:cubicBezTo>
                      <a:pt x="14" y="12"/>
                      <a:pt x="8" y="10"/>
                      <a:pt x="6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0" name="未知"/>
              <p:cNvSpPr>
                <a:spLocks/>
              </p:cNvSpPr>
              <p:nvPr/>
            </p:nvSpPr>
            <p:spPr bwMode="auto">
              <a:xfrm>
                <a:off x="1076" y="1246"/>
                <a:ext cx="11" cy="19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0" y="13"/>
                  </a:cxn>
                  <a:cxn ang="0">
                    <a:pos x="12" y="24"/>
                  </a:cxn>
                  <a:cxn ang="0">
                    <a:pos x="6" y="0"/>
                  </a:cxn>
                </a:cxnLst>
                <a:rect l="0" t="0" r="r" b="b"/>
                <a:pathLst>
                  <a:path w="14" h="25">
                    <a:moveTo>
                      <a:pt x="6" y="0"/>
                    </a:moveTo>
                    <a:cubicBezTo>
                      <a:pt x="4" y="5"/>
                      <a:pt x="3" y="9"/>
                      <a:pt x="0" y="13"/>
                    </a:cubicBezTo>
                    <a:cubicBezTo>
                      <a:pt x="1" y="24"/>
                      <a:pt x="1" y="25"/>
                      <a:pt x="12" y="24"/>
                    </a:cubicBezTo>
                    <a:cubicBezTo>
                      <a:pt x="14" y="12"/>
                      <a:pt x="8" y="10"/>
                      <a:pt x="6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1" name="未知"/>
              <p:cNvSpPr>
                <a:spLocks/>
              </p:cNvSpPr>
              <p:nvPr/>
            </p:nvSpPr>
            <p:spPr bwMode="auto">
              <a:xfrm>
                <a:off x="1064" y="1268"/>
                <a:ext cx="11" cy="15"/>
              </a:xfrm>
              <a:custGeom>
                <a:avLst/>
                <a:gdLst/>
                <a:ahLst/>
                <a:cxnLst>
                  <a:cxn ang="0">
                    <a:pos x="10" y="5"/>
                  </a:cxn>
                  <a:cxn ang="0">
                    <a:pos x="1" y="11"/>
                  </a:cxn>
                  <a:cxn ang="0">
                    <a:pos x="9" y="20"/>
                  </a:cxn>
                  <a:cxn ang="0">
                    <a:pos x="10" y="5"/>
                  </a:cxn>
                </a:cxnLst>
                <a:rect l="0" t="0" r="r" b="b"/>
                <a:pathLst>
                  <a:path w="13" h="20">
                    <a:moveTo>
                      <a:pt x="10" y="5"/>
                    </a:moveTo>
                    <a:cubicBezTo>
                      <a:pt x="3" y="0"/>
                      <a:pt x="5" y="6"/>
                      <a:pt x="1" y="11"/>
                    </a:cubicBezTo>
                    <a:cubicBezTo>
                      <a:pt x="0" y="18"/>
                      <a:pt x="2" y="19"/>
                      <a:pt x="9" y="20"/>
                    </a:cubicBezTo>
                    <a:cubicBezTo>
                      <a:pt x="13" y="14"/>
                      <a:pt x="10" y="12"/>
                      <a:pt x="10" y="5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2" name="未知"/>
              <p:cNvSpPr>
                <a:spLocks/>
              </p:cNvSpPr>
              <p:nvPr/>
            </p:nvSpPr>
            <p:spPr bwMode="auto">
              <a:xfrm>
                <a:off x="1039" y="1302"/>
                <a:ext cx="9" cy="15"/>
              </a:xfrm>
              <a:custGeom>
                <a:avLst/>
                <a:gdLst/>
                <a:ahLst/>
                <a:cxnLst>
                  <a:cxn ang="0">
                    <a:pos x="10" y="5"/>
                  </a:cxn>
                  <a:cxn ang="0">
                    <a:pos x="1" y="11"/>
                  </a:cxn>
                  <a:cxn ang="0">
                    <a:pos x="9" y="20"/>
                  </a:cxn>
                  <a:cxn ang="0">
                    <a:pos x="10" y="5"/>
                  </a:cxn>
                </a:cxnLst>
                <a:rect l="0" t="0" r="r" b="b"/>
                <a:pathLst>
                  <a:path w="13" h="20">
                    <a:moveTo>
                      <a:pt x="10" y="5"/>
                    </a:moveTo>
                    <a:cubicBezTo>
                      <a:pt x="3" y="0"/>
                      <a:pt x="5" y="6"/>
                      <a:pt x="1" y="11"/>
                    </a:cubicBezTo>
                    <a:cubicBezTo>
                      <a:pt x="0" y="18"/>
                      <a:pt x="2" y="19"/>
                      <a:pt x="9" y="20"/>
                    </a:cubicBezTo>
                    <a:cubicBezTo>
                      <a:pt x="13" y="14"/>
                      <a:pt x="10" y="12"/>
                      <a:pt x="10" y="5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3" name="未知"/>
              <p:cNvSpPr>
                <a:spLocks/>
              </p:cNvSpPr>
              <p:nvPr/>
            </p:nvSpPr>
            <p:spPr bwMode="auto">
              <a:xfrm>
                <a:off x="1058" y="1289"/>
                <a:ext cx="11" cy="15"/>
              </a:xfrm>
              <a:custGeom>
                <a:avLst/>
                <a:gdLst/>
                <a:ahLst/>
                <a:cxnLst>
                  <a:cxn ang="0">
                    <a:pos x="10" y="5"/>
                  </a:cxn>
                  <a:cxn ang="0">
                    <a:pos x="1" y="11"/>
                  </a:cxn>
                  <a:cxn ang="0">
                    <a:pos x="9" y="20"/>
                  </a:cxn>
                  <a:cxn ang="0">
                    <a:pos x="10" y="5"/>
                  </a:cxn>
                </a:cxnLst>
                <a:rect l="0" t="0" r="r" b="b"/>
                <a:pathLst>
                  <a:path w="13" h="20">
                    <a:moveTo>
                      <a:pt x="10" y="5"/>
                    </a:moveTo>
                    <a:cubicBezTo>
                      <a:pt x="3" y="0"/>
                      <a:pt x="5" y="6"/>
                      <a:pt x="1" y="11"/>
                    </a:cubicBezTo>
                    <a:cubicBezTo>
                      <a:pt x="0" y="18"/>
                      <a:pt x="2" y="19"/>
                      <a:pt x="9" y="20"/>
                    </a:cubicBezTo>
                    <a:cubicBezTo>
                      <a:pt x="13" y="14"/>
                      <a:pt x="10" y="12"/>
                      <a:pt x="10" y="5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4" name="未知"/>
              <p:cNvSpPr>
                <a:spLocks/>
              </p:cNvSpPr>
              <p:nvPr/>
            </p:nvSpPr>
            <p:spPr bwMode="auto">
              <a:xfrm>
                <a:off x="307" y="305"/>
                <a:ext cx="10" cy="15"/>
              </a:xfrm>
              <a:custGeom>
                <a:avLst/>
                <a:gdLst/>
                <a:ahLst/>
                <a:cxnLst>
                  <a:cxn ang="0">
                    <a:pos x="10" y="5"/>
                  </a:cxn>
                  <a:cxn ang="0">
                    <a:pos x="1" y="11"/>
                  </a:cxn>
                  <a:cxn ang="0">
                    <a:pos x="9" y="20"/>
                  </a:cxn>
                  <a:cxn ang="0">
                    <a:pos x="10" y="5"/>
                  </a:cxn>
                </a:cxnLst>
                <a:rect l="0" t="0" r="r" b="b"/>
                <a:pathLst>
                  <a:path w="13" h="20">
                    <a:moveTo>
                      <a:pt x="10" y="5"/>
                    </a:moveTo>
                    <a:cubicBezTo>
                      <a:pt x="3" y="0"/>
                      <a:pt x="5" y="6"/>
                      <a:pt x="1" y="11"/>
                    </a:cubicBezTo>
                    <a:cubicBezTo>
                      <a:pt x="0" y="18"/>
                      <a:pt x="2" y="19"/>
                      <a:pt x="9" y="20"/>
                    </a:cubicBezTo>
                    <a:cubicBezTo>
                      <a:pt x="13" y="14"/>
                      <a:pt x="10" y="12"/>
                      <a:pt x="10" y="5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5" name="未知"/>
              <p:cNvSpPr>
                <a:spLocks/>
              </p:cNvSpPr>
              <p:nvPr/>
            </p:nvSpPr>
            <p:spPr bwMode="auto">
              <a:xfrm>
                <a:off x="0" y="55"/>
                <a:ext cx="2112" cy="1637"/>
              </a:xfrm>
              <a:custGeom>
                <a:avLst/>
                <a:gdLst/>
                <a:ahLst/>
                <a:cxnLst>
                  <a:cxn ang="0">
                    <a:pos x="452" y="653"/>
                  </a:cxn>
                  <a:cxn ang="0">
                    <a:pos x="333" y="595"/>
                  </a:cxn>
                  <a:cxn ang="0">
                    <a:pos x="158" y="645"/>
                  </a:cxn>
                  <a:cxn ang="0">
                    <a:pos x="46" y="759"/>
                  </a:cxn>
                  <a:cxn ang="0">
                    <a:pos x="12" y="941"/>
                  </a:cxn>
                  <a:cxn ang="0">
                    <a:pos x="146" y="1059"/>
                  </a:cxn>
                  <a:cxn ang="0">
                    <a:pos x="308" y="1041"/>
                  </a:cxn>
                  <a:cxn ang="0">
                    <a:pos x="396" y="1138"/>
                  </a:cxn>
                  <a:cxn ang="0">
                    <a:pos x="452" y="1447"/>
                  </a:cxn>
                  <a:cxn ang="0">
                    <a:pos x="497" y="1628"/>
                  </a:cxn>
                  <a:cxn ang="0">
                    <a:pos x="704" y="1574"/>
                  </a:cxn>
                  <a:cxn ang="0">
                    <a:pos x="817" y="1380"/>
                  </a:cxn>
                  <a:cxn ang="0">
                    <a:pos x="885" y="1153"/>
                  </a:cxn>
                  <a:cxn ang="0">
                    <a:pos x="998" y="999"/>
                  </a:cxn>
                  <a:cxn ang="0">
                    <a:pos x="796" y="856"/>
                  </a:cxn>
                  <a:cxn ang="0">
                    <a:pos x="817" y="819"/>
                  </a:cxn>
                  <a:cxn ang="0">
                    <a:pos x="1003" y="916"/>
                  </a:cxn>
                  <a:cxn ang="0">
                    <a:pos x="1098" y="792"/>
                  </a:cxn>
                  <a:cxn ang="0">
                    <a:pos x="1046" y="763"/>
                  </a:cxn>
                  <a:cxn ang="0">
                    <a:pos x="929" y="716"/>
                  </a:cxn>
                  <a:cxn ang="0">
                    <a:pos x="1141" y="761"/>
                  </a:cxn>
                  <a:cxn ang="0">
                    <a:pos x="1296" y="852"/>
                  </a:cxn>
                  <a:cxn ang="0">
                    <a:pos x="1373" y="1033"/>
                  </a:cxn>
                  <a:cxn ang="0">
                    <a:pos x="1608" y="847"/>
                  </a:cxn>
                  <a:cxn ang="0">
                    <a:pos x="1704" y="1030"/>
                  </a:cxn>
                  <a:cxn ang="0">
                    <a:pos x="1707" y="874"/>
                  </a:cxn>
                  <a:cxn ang="0">
                    <a:pos x="1759" y="800"/>
                  </a:cxn>
                  <a:cxn ang="0">
                    <a:pos x="1783" y="544"/>
                  </a:cxn>
                  <a:cxn ang="0">
                    <a:pos x="1824" y="528"/>
                  </a:cxn>
                  <a:cxn ang="0">
                    <a:pos x="1844" y="427"/>
                  </a:cxn>
                  <a:cxn ang="0">
                    <a:pos x="1805" y="226"/>
                  </a:cxn>
                  <a:cxn ang="0">
                    <a:pos x="1899" y="108"/>
                  </a:cxn>
                  <a:cxn ang="0">
                    <a:pos x="1947" y="209"/>
                  </a:cxn>
                  <a:cxn ang="0">
                    <a:pos x="1943" y="123"/>
                  </a:cxn>
                  <a:cxn ang="0">
                    <a:pos x="1975" y="51"/>
                  </a:cxn>
                  <a:cxn ang="0">
                    <a:pos x="2038" y="0"/>
                  </a:cxn>
                  <a:cxn ang="0">
                    <a:pos x="1820" y="63"/>
                  </a:cxn>
                  <a:cxn ang="0">
                    <a:pos x="1583" y="83"/>
                  </a:cxn>
                  <a:cxn ang="0">
                    <a:pos x="1349" y="30"/>
                  </a:cxn>
                  <a:cxn ang="0">
                    <a:pos x="1132" y="65"/>
                  </a:cxn>
                  <a:cxn ang="0">
                    <a:pos x="1040" y="170"/>
                  </a:cxn>
                  <a:cxn ang="0">
                    <a:pos x="926" y="137"/>
                  </a:cxn>
                  <a:cxn ang="0">
                    <a:pos x="758" y="183"/>
                  </a:cxn>
                  <a:cxn ang="0">
                    <a:pos x="667" y="140"/>
                  </a:cxn>
                  <a:cxn ang="0">
                    <a:pos x="364" y="248"/>
                  </a:cxn>
                  <a:cxn ang="0">
                    <a:pos x="535" y="213"/>
                  </a:cxn>
                  <a:cxn ang="0">
                    <a:pos x="638" y="276"/>
                  </a:cxn>
                  <a:cxn ang="0">
                    <a:pos x="443" y="357"/>
                  </a:cxn>
                  <a:cxn ang="0">
                    <a:pos x="275" y="416"/>
                  </a:cxn>
                  <a:cxn ang="0">
                    <a:pos x="167" y="537"/>
                  </a:cxn>
                  <a:cxn ang="0">
                    <a:pos x="283" y="552"/>
                  </a:cxn>
                  <a:cxn ang="0">
                    <a:pos x="381" y="573"/>
                  </a:cxn>
                  <a:cxn ang="0">
                    <a:pos x="493" y="590"/>
                  </a:cxn>
                  <a:cxn ang="0">
                    <a:pos x="487" y="512"/>
                  </a:cxn>
                  <a:cxn ang="0">
                    <a:pos x="592" y="548"/>
                  </a:cxn>
                  <a:cxn ang="0">
                    <a:pos x="686" y="470"/>
                  </a:cxn>
                  <a:cxn ang="0">
                    <a:pos x="772" y="480"/>
                  </a:cxn>
                  <a:cxn ang="0">
                    <a:pos x="639" y="598"/>
                  </a:cxn>
                </a:cxnLst>
                <a:rect l="0" t="0" r="r" b="b"/>
                <a:pathLst>
                  <a:path w="2060" h="1644">
                    <a:moveTo>
                      <a:pt x="697" y="677"/>
                    </a:moveTo>
                    <a:cubicBezTo>
                      <a:pt x="659" y="675"/>
                      <a:pt x="652" y="669"/>
                      <a:pt x="618" y="667"/>
                    </a:cubicBezTo>
                    <a:cubicBezTo>
                      <a:pt x="607" y="666"/>
                      <a:pt x="594" y="661"/>
                      <a:pt x="582" y="658"/>
                    </a:cubicBezTo>
                    <a:cubicBezTo>
                      <a:pt x="577" y="655"/>
                      <a:pt x="568" y="650"/>
                      <a:pt x="568" y="650"/>
                    </a:cubicBezTo>
                    <a:cubicBezTo>
                      <a:pt x="551" y="652"/>
                      <a:pt x="557" y="655"/>
                      <a:pt x="546" y="658"/>
                    </a:cubicBezTo>
                    <a:cubicBezTo>
                      <a:pt x="540" y="667"/>
                      <a:pt x="542" y="669"/>
                      <a:pt x="546" y="677"/>
                    </a:cubicBezTo>
                    <a:cubicBezTo>
                      <a:pt x="548" y="680"/>
                      <a:pt x="550" y="686"/>
                      <a:pt x="550" y="686"/>
                    </a:cubicBezTo>
                    <a:cubicBezTo>
                      <a:pt x="526" y="694"/>
                      <a:pt x="506" y="678"/>
                      <a:pt x="488" y="670"/>
                    </a:cubicBezTo>
                    <a:cubicBezTo>
                      <a:pt x="481" y="653"/>
                      <a:pt x="472" y="655"/>
                      <a:pt x="452" y="653"/>
                    </a:cubicBezTo>
                    <a:cubicBezTo>
                      <a:pt x="446" y="648"/>
                      <a:pt x="444" y="648"/>
                      <a:pt x="437" y="650"/>
                    </a:cubicBezTo>
                    <a:cubicBezTo>
                      <a:pt x="427" y="647"/>
                      <a:pt x="433" y="648"/>
                      <a:pt x="423" y="642"/>
                    </a:cubicBezTo>
                    <a:cubicBezTo>
                      <a:pt x="421" y="641"/>
                      <a:pt x="418" y="639"/>
                      <a:pt x="418" y="639"/>
                    </a:cubicBezTo>
                    <a:cubicBezTo>
                      <a:pt x="416" y="638"/>
                      <a:pt x="413" y="633"/>
                      <a:pt x="413" y="630"/>
                    </a:cubicBezTo>
                    <a:cubicBezTo>
                      <a:pt x="415" y="625"/>
                      <a:pt x="418" y="616"/>
                      <a:pt x="418" y="616"/>
                    </a:cubicBezTo>
                    <a:cubicBezTo>
                      <a:pt x="416" y="592"/>
                      <a:pt x="421" y="588"/>
                      <a:pt x="398" y="591"/>
                    </a:cubicBezTo>
                    <a:cubicBezTo>
                      <a:pt x="390" y="598"/>
                      <a:pt x="390" y="595"/>
                      <a:pt x="381" y="592"/>
                    </a:cubicBezTo>
                    <a:cubicBezTo>
                      <a:pt x="370" y="592"/>
                      <a:pt x="361" y="595"/>
                      <a:pt x="348" y="597"/>
                    </a:cubicBezTo>
                    <a:cubicBezTo>
                      <a:pt x="344" y="595"/>
                      <a:pt x="337" y="597"/>
                      <a:pt x="333" y="595"/>
                    </a:cubicBezTo>
                    <a:cubicBezTo>
                      <a:pt x="331" y="594"/>
                      <a:pt x="330" y="592"/>
                      <a:pt x="328" y="592"/>
                    </a:cubicBezTo>
                    <a:cubicBezTo>
                      <a:pt x="314" y="591"/>
                      <a:pt x="296" y="597"/>
                      <a:pt x="283" y="602"/>
                    </a:cubicBezTo>
                    <a:cubicBezTo>
                      <a:pt x="276" y="603"/>
                      <a:pt x="268" y="606"/>
                      <a:pt x="260" y="608"/>
                    </a:cubicBezTo>
                    <a:cubicBezTo>
                      <a:pt x="255" y="609"/>
                      <a:pt x="246" y="613"/>
                      <a:pt x="246" y="613"/>
                    </a:cubicBezTo>
                    <a:cubicBezTo>
                      <a:pt x="228" y="611"/>
                      <a:pt x="209" y="609"/>
                      <a:pt x="189" y="611"/>
                    </a:cubicBezTo>
                    <a:cubicBezTo>
                      <a:pt x="184" y="613"/>
                      <a:pt x="180" y="614"/>
                      <a:pt x="175" y="617"/>
                    </a:cubicBezTo>
                    <a:cubicBezTo>
                      <a:pt x="173" y="619"/>
                      <a:pt x="173" y="620"/>
                      <a:pt x="173" y="622"/>
                    </a:cubicBezTo>
                    <a:cubicBezTo>
                      <a:pt x="172" y="623"/>
                      <a:pt x="169" y="623"/>
                      <a:pt x="169" y="625"/>
                    </a:cubicBezTo>
                    <a:cubicBezTo>
                      <a:pt x="163" y="634"/>
                      <a:pt x="167" y="641"/>
                      <a:pt x="158" y="645"/>
                    </a:cubicBezTo>
                    <a:cubicBezTo>
                      <a:pt x="153" y="648"/>
                      <a:pt x="149" y="652"/>
                      <a:pt x="144" y="655"/>
                    </a:cubicBezTo>
                    <a:cubicBezTo>
                      <a:pt x="141" y="656"/>
                      <a:pt x="135" y="659"/>
                      <a:pt x="135" y="659"/>
                    </a:cubicBezTo>
                    <a:cubicBezTo>
                      <a:pt x="133" y="664"/>
                      <a:pt x="130" y="666"/>
                      <a:pt x="130" y="669"/>
                    </a:cubicBezTo>
                    <a:cubicBezTo>
                      <a:pt x="128" y="677"/>
                      <a:pt x="132" y="691"/>
                      <a:pt x="124" y="698"/>
                    </a:cubicBezTo>
                    <a:cubicBezTo>
                      <a:pt x="118" y="703"/>
                      <a:pt x="108" y="709"/>
                      <a:pt x="101" y="711"/>
                    </a:cubicBezTo>
                    <a:cubicBezTo>
                      <a:pt x="101" y="711"/>
                      <a:pt x="90" y="716"/>
                      <a:pt x="87" y="716"/>
                    </a:cubicBezTo>
                    <a:cubicBezTo>
                      <a:pt x="85" y="717"/>
                      <a:pt x="82" y="717"/>
                      <a:pt x="82" y="717"/>
                    </a:cubicBezTo>
                    <a:cubicBezTo>
                      <a:pt x="76" y="725"/>
                      <a:pt x="68" y="733"/>
                      <a:pt x="60" y="738"/>
                    </a:cubicBezTo>
                    <a:cubicBezTo>
                      <a:pt x="56" y="745"/>
                      <a:pt x="53" y="755"/>
                      <a:pt x="46" y="759"/>
                    </a:cubicBezTo>
                    <a:cubicBezTo>
                      <a:pt x="43" y="764"/>
                      <a:pt x="37" y="767"/>
                      <a:pt x="31" y="773"/>
                    </a:cubicBezTo>
                    <a:cubicBezTo>
                      <a:pt x="26" y="780"/>
                      <a:pt x="25" y="789"/>
                      <a:pt x="23" y="797"/>
                    </a:cubicBezTo>
                    <a:cubicBezTo>
                      <a:pt x="20" y="803"/>
                      <a:pt x="19" y="809"/>
                      <a:pt x="17" y="816"/>
                    </a:cubicBezTo>
                    <a:cubicBezTo>
                      <a:pt x="15" y="817"/>
                      <a:pt x="14" y="824"/>
                      <a:pt x="14" y="824"/>
                    </a:cubicBezTo>
                    <a:cubicBezTo>
                      <a:pt x="15" y="831"/>
                      <a:pt x="26" y="842"/>
                      <a:pt x="26" y="842"/>
                    </a:cubicBezTo>
                    <a:cubicBezTo>
                      <a:pt x="26" y="847"/>
                      <a:pt x="17" y="855"/>
                      <a:pt x="17" y="855"/>
                    </a:cubicBezTo>
                    <a:cubicBezTo>
                      <a:pt x="14" y="863"/>
                      <a:pt x="17" y="867"/>
                      <a:pt x="25" y="870"/>
                    </a:cubicBezTo>
                    <a:cubicBezTo>
                      <a:pt x="28" y="884"/>
                      <a:pt x="17" y="902"/>
                      <a:pt x="6" y="909"/>
                    </a:cubicBezTo>
                    <a:cubicBezTo>
                      <a:pt x="0" y="927"/>
                      <a:pt x="5" y="927"/>
                      <a:pt x="12" y="941"/>
                    </a:cubicBezTo>
                    <a:cubicBezTo>
                      <a:pt x="23" y="963"/>
                      <a:pt x="29" y="969"/>
                      <a:pt x="53" y="977"/>
                    </a:cubicBezTo>
                    <a:cubicBezTo>
                      <a:pt x="60" y="986"/>
                      <a:pt x="56" y="983"/>
                      <a:pt x="63" y="989"/>
                    </a:cubicBezTo>
                    <a:cubicBezTo>
                      <a:pt x="62" y="994"/>
                      <a:pt x="59" y="997"/>
                      <a:pt x="59" y="1002"/>
                    </a:cubicBezTo>
                    <a:cubicBezTo>
                      <a:pt x="57" y="1009"/>
                      <a:pt x="70" y="1020"/>
                      <a:pt x="74" y="1027"/>
                    </a:cubicBezTo>
                    <a:cubicBezTo>
                      <a:pt x="77" y="1031"/>
                      <a:pt x="91" y="1036"/>
                      <a:pt x="91" y="1036"/>
                    </a:cubicBezTo>
                    <a:cubicBezTo>
                      <a:pt x="94" y="1036"/>
                      <a:pt x="96" y="1036"/>
                      <a:pt x="98" y="1034"/>
                    </a:cubicBezTo>
                    <a:cubicBezTo>
                      <a:pt x="99" y="1034"/>
                      <a:pt x="98" y="1031"/>
                      <a:pt x="99" y="1030"/>
                    </a:cubicBezTo>
                    <a:cubicBezTo>
                      <a:pt x="101" y="1030"/>
                      <a:pt x="107" y="1038"/>
                      <a:pt x="108" y="1038"/>
                    </a:cubicBezTo>
                    <a:cubicBezTo>
                      <a:pt x="119" y="1047"/>
                      <a:pt x="133" y="1055"/>
                      <a:pt x="146" y="1059"/>
                    </a:cubicBezTo>
                    <a:cubicBezTo>
                      <a:pt x="149" y="1067"/>
                      <a:pt x="152" y="1066"/>
                      <a:pt x="159" y="1064"/>
                    </a:cubicBezTo>
                    <a:cubicBezTo>
                      <a:pt x="163" y="1061"/>
                      <a:pt x="166" y="1059"/>
                      <a:pt x="169" y="1058"/>
                    </a:cubicBezTo>
                    <a:cubicBezTo>
                      <a:pt x="172" y="1056"/>
                      <a:pt x="178" y="1055"/>
                      <a:pt x="178" y="1055"/>
                    </a:cubicBezTo>
                    <a:cubicBezTo>
                      <a:pt x="192" y="1059"/>
                      <a:pt x="209" y="1061"/>
                      <a:pt x="224" y="1063"/>
                    </a:cubicBezTo>
                    <a:cubicBezTo>
                      <a:pt x="231" y="1067"/>
                      <a:pt x="229" y="1070"/>
                      <a:pt x="238" y="1069"/>
                    </a:cubicBezTo>
                    <a:cubicBezTo>
                      <a:pt x="238" y="1063"/>
                      <a:pt x="238" y="1056"/>
                      <a:pt x="238" y="1050"/>
                    </a:cubicBezTo>
                    <a:cubicBezTo>
                      <a:pt x="241" y="1041"/>
                      <a:pt x="257" y="1059"/>
                      <a:pt x="260" y="1061"/>
                    </a:cubicBezTo>
                    <a:cubicBezTo>
                      <a:pt x="266" y="1050"/>
                      <a:pt x="279" y="1052"/>
                      <a:pt x="291" y="1050"/>
                    </a:cubicBezTo>
                    <a:cubicBezTo>
                      <a:pt x="297" y="1049"/>
                      <a:pt x="302" y="1044"/>
                      <a:pt x="308" y="1041"/>
                    </a:cubicBezTo>
                    <a:cubicBezTo>
                      <a:pt x="319" y="1042"/>
                      <a:pt x="330" y="1045"/>
                      <a:pt x="341" y="1049"/>
                    </a:cubicBezTo>
                    <a:cubicBezTo>
                      <a:pt x="342" y="1050"/>
                      <a:pt x="344" y="1055"/>
                      <a:pt x="344" y="1058"/>
                    </a:cubicBezTo>
                    <a:cubicBezTo>
                      <a:pt x="344" y="1061"/>
                      <a:pt x="342" y="1067"/>
                      <a:pt x="342" y="1067"/>
                    </a:cubicBezTo>
                    <a:cubicBezTo>
                      <a:pt x="347" y="1070"/>
                      <a:pt x="355" y="1072"/>
                      <a:pt x="361" y="1075"/>
                    </a:cubicBezTo>
                    <a:cubicBezTo>
                      <a:pt x="362" y="1075"/>
                      <a:pt x="365" y="1077"/>
                      <a:pt x="365" y="1077"/>
                    </a:cubicBezTo>
                    <a:cubicBezTo>
                      <a:pt x="375" y="1074"/>
                      <a:pt x="384" y="1074"/>
                      <a:pt x="393" y="1080"/>
                    </a:cubicBezTo>
                    <a:cubicBezTo>
                      <a:pt x="396" y="1083"/>
                      <a:pt x="398" y="1088"/>
                      <a:pt x="401" y="1092"/>
                    </a:cubicBezTo>
                    <a:cubicBezTo>
                      <a:pt x="404" y="1095"/>
                      <a:pt x="407" y="1102"/>
                      <a:pt x="407" y="1102"/>
                    </a:cubicBezTo>
                    <a:cubicBezTo>
                      <a:pt x="404" y="1114"/>
                      <a:pt x="399" y="1127"/>
                      <a:pt x="396" y="1138"/>
                    </a:cubicBezTo>
                    <a:cubicBezTo>
                      <a:pt x="393" y="1147"/>
                      <a:pt x="395" y="1141"/>
                      <a:pt x="389" y="1152"/>
                    </a:cubicBezTo>
                    <a:cubicBezTo>
                      <a:pt x="387" y="1153"/>
                      <a:pt x="385" y="1156"/>
                      <a:pt x="385" y="1156"/>
                    </a:cubicBezTo>
                    <a:cubicBezTo>
                      <a:pt x="389" y="1185"/>
                      <a:pt x="396" y="1180"/>
                      <a:pt x="410" y="1197"/>
                    </a:cubicBezTo>
                    <a:cubicBezTo>
                      <a:pt x="427" y="1219"/>
                      <a:pt x="440" y="1239"/>
                      <a:pt x="447" y="1266"/>
                    </a:cubicBezTo>
                    <a:cubicBezTo>
                      <a:pt x="446" y="1280"/>
                      <a:pt x="452" y="1314"/>
                      <a:pt x="435" y="1325"/>
                    </a:cubicBezTo>
                    <a:cubicBezTo>
                      <a:pt x="427" y="1347"/>
                      <a:pt x="433" y="1325"/>
                      <a:pt x="430" y="1367"/>
                    </a:cubicBezTo>
                    <a:cubicBezTo>
                      <a:pt x="429" y="1377"/>
                      <a:pt x="421" y="1381"/>
                      <a:pt x="418" y="1391"/>
                    </a:cubicBezTo>
                    <a:cubicBezTo>
                      <a:pt x="421" y="1413"/>
                      <a:pt x="430" y="1422"/>
                      <a:pt x="446" y="1438"/>
                    </a:cubicBezTo>
                    <a:cubicBezTo>
                      <a:pt x="449" y="1441"/>
                      <a:pt x="450" y="1442"/>
                      <a:pt x="452" y="1447"/>
                    </a:cubicBezTo>
                    <a:cubicBezTo>
                      <a:pt x="454" y="1450"/>
                      <a:pt x="455" y="1456"/>
                      <a:pt x="455" y="1456"/>
                    </a:cubicBezTo>
                    <a:cubicBezTo>
                      <a:pt x="457" y="1475"/>
                      <a:pt x="458" y="1488"/>
                      <a:pt x="460" y="1505"/>
                    </a:cubicBezTo>
                    <a:cubicBezTo>
                      <a:pt x="461" y="1514"/>
                      <a:pt x="461" y="1511"/>
                      <a:pt x="464" y="1522"/>
                    </a:cubicBezTo>
                    <a:cubicBezTo>
                      <a:pt x="466" y="1524"/>
                      <a:pt x="466" y="1527"/>
                      <a:pt x="466" y="1527"/>
                    </a:cubicBezTo>
                    <a:cubicBezTo>
                      <a:pt x="468" y="1542"/>
                      <a:pt x="469" y="1552"/>
                      <a:pt x="481" y="1561"/>
                    </a:cubicBezTo>
                    <a:cubicBezTo>
                      <a:pt x="485" y="1566"/>
                      <a:pt x="488" y="1569"/>
                      <a:pt x="494" y="1572"/>
                    </a:cubicBezTo>
                    <a:cubicBezTo>
                      <a:pt x="497" y="1585"/>
                      <a:pt x="503" y="1597"/>
                      <a:pt x="506" y="1610"/>
                    </a:cubicBezTo>
                    <a:cubicBezTo>
                      <a:pt x="506" y="1614"/>
                      <a:pt x="508" y="1619"/>
                      <a:pt x="505" y="1622"/>
                    </a:cubicBezTo>
                    <a:cubicBezTo>
                      <a:pt x="503" y="1625"/>
                      <a:pt x="497" y="1628"/>
                      <a:pt x="497" y="1628"/>
                    </a:cubicBezTo>
                    <a:cubicBezTo>
                      <a:pt x="488" y="1642"/>
                      <a:pt x="509" y="1644"/>
                      <a:pt x="517" y="1644"/>
                    </a:cubicBezTo>
                    <a:cubicBezTo>
                      <a:pt x="539" y="1639"/>
                      <a:pt x="557" y="1635"/>
                      <a:pt x="579" y="1633"/>
                    </a:cubicBezTo>
                    <a:cubicBezTo>
                      <a:pt x="598" y="1630"/>
                      <a:pt x="613" y="1627"/>
                      <a:pt x="632" y="1624"/>
                    </a:cubicBezTo>
                    <a:cubicBezTo>
                      <a:pt x="635" y="1624"/>
                      <a:pt x="638" y="1622"/>
                      <a:pt x="641" y="1621"/>
                    </a:cubicBezTo>
                    <a:cubicBezTo>
                      <a:pt x="642" y="1621"/>
                      <a:pt x="644" y="1619"/>
                      <a:pt x="646" y="1617"/>
                    </a:cubicBezTo>
                    <a:cubicBezTo>
                      <a:pt x="649" y="1617"/>
                      <a:pt x="655" y="1616"/>
                      <a:pt x="655" y="1616"/>
                    </a:cubicBezTo>
                    <a:cubicBezTo>
                      <a:pt x="659" y="1610"/>
                      <a:pt x="664" y="1603"/>
                      <a:pt x="670" y="1600"/>
                    </a:cubicBezTo>
                    <a:cubicBezTo>
                      <a:pt x="675" y="1594"/>
                      <a:pt x="678" y="1591"/>
                      <a:pt x="683" y="1588"/>
                    </a:cubicBezTo>
                    <a:cubicBezTo>
                      <a:pt x="687" y="1581"/>
                      <a:pt x="697" y="1577"/>
                      <a:pt x="704" y="1574"/>
                    </a:cubicBezTo>
                    <a:cubicBezTo>
                      <a:pt x="715" y="1563"/>
                      <a:pt x="726" y="1550"/>
                      <a:pt x="731" y="1535"/>
                    </a:cubicBezTo>
                    <a:cubicBezTo>
                      <a:pt x="731" y="1531"/>
                      <a:pt x="729" y="1528"/>
                      <a:pt x="729" y="1525"/>
                    </a:cubicBezTo>
                    <a:cubicBezTo>
                      <a:pt x="729" y="1494"/>
                      <a:pt x="737" y="1505"/>
                      <a:pt x="754" y="1494"/>
                    </a:cubicBezTo>
                    <a:cubicBezTo>
                      <a:pt x="759" y="1488"/>
                      <a:pt x="762" y="1483"/>
                      <a:pt x="765" y="1475"/>
                    </a:cubicBezTo>
                    <a:cubicBezTo>
                      <a:pt x="763" y="1458"/>
                      <a:pt x="765" y="1439"/>
                      <a:pt x="755" y="1424"/>
                    </a:cubicBezTo>
                    <a:cubicBezTo>
                      <a:pt x="759" y="1413"/>
                      <a:pt x="771" y="1419"/>
                      <a:pt x="779" y="1422"/>
                    </a:cubicBezTo>
                    <a:cubicBezTo>
                      <a:pt x="782" y="1427"/>
                      <a:pt x="782" y="1435"/>
                      <a:pt x="785" y="1427"/>
                    </a:cubicBezTo>
                    <a:cubicBezTo>
                      <a:pt x="786" y="1416"/>
                      <a:pt x="786" y="1405"/>
                      <a:pt x="786" y="1396"/>
                    </a:cubicBezTo>
                    <a:cubicBezTo>
                      <a:pt x="788" y="1386"/>
                      <a:pt x="810" y="1385"/>
                      <a:pt x="817" y="1380"/>
                    </a:cubicBezTo>
                    <a:cubicBezTo>
                      <a:pt x="820" y="1374"/>
                      <a:pt x="831" y="1367"/>
                      <a:pt x="837" y="1363"/>
                    </a:cubicBezTo>
                    <a:cubicBezTo>
                      <a:pt x="841" y="1361"/>
                      <a:pt x="847" y="1356"/>
                      <a:pt x="847" y="1356"/>
                    </a:cubicBezTo>
                    <a:cubicBezTo>
                      <a:pt x="855" y="1345"/>
                      <a:pt x="845" y="1333"/>
                      <a:pt x="844" y="1320"/>
                    </a:cubicBezTo>
                    <a:cubicBezTo>
                      <a:pt x="845" y="1310"/>
                      <a:pt x="847" y="1308"/>
                      <a:pt x="850" y="1299"/>
                    </a:cubicBezTo>
                    <a:cubicBezTo>
                      <a:pt x="847" y="1288"/>
                      <a:pt x="842" y="1288"/>
                      <a:pt x="834" y="1280"/>
                    </a:cubicBezTo>
                    <a:cubicBezTo>
                      <a:pt x="833" y="1275"/>
                      <a:pt x="830" y="1266"/>
                      <a:pt x="830" y="1266"/>
                    </a:cubicBezTo>
                    <a:cubicBezTo>
                      <a:pt x="831" y="1250"/>
                      <a:pt x="831" y="1236"/>
                      <a:pt x="831" y="1220"/>
                    </a:cubicBezTo>
                    <a:cubicBezTo>
                      <a:pt x="833" y="1192"/>
                      <a:pt x="861" y="1183"/>
                      <a:pt x="876" y="1166"/>
                    </a:cubicBezTo>
                    <a:cubicBezTo>
                      <a:pt x="879" y="1160"/>
                      <a:pt x="884" y="1160"/>
                      <a:pt x="885" y="1153"/>
                    </a:cubicBezTo>
                    <a:cubicBezTo>
                      <a:pt x="890" y="1144"/>
                      <a:pt x="889" y="1142"/>
                      <a:pt x="895" y="1136"/>
                    </a:cubicBezTo>
                    <a:cubicBezTo>
                      <a:pt x="898" y="1127"/>
                      <a:pt x="906" y="1114"/>
                      <a:pt x="915" y="1111"/>
                    </a:cubicBezTo>
                    <a:cubicBezTo>
                      <a:pt x="920" y="1105"/>
                      <a:pt x="924" y="1099"/>
                      <a:pt x="930" y="1094"/>
                    </a:cubicBezTo>
                    <a:cubicBezTo>
                      <a:pt x="935" y="1089"/>
                      <a:pt x="938" y="1089"/>
                      <a:pt x="943" y="1084"/>
                    </a:cubicBezTo>
                    <a:cubicBezTo>
                      <a:pt x="947" y="1080"/>
                      <a:pt x="949" y="1078"/>
                      <a:pt x="955" y="1077"/>
                    </a:cubicBezTo>
                    <a:cubicBezTo>
                      <a:pt x="961" y="1066"/>
                      <a:pt x="958" y="1069"/>
                      <a:pt x="966" y="1064"/>
                    </a:cubicBezTo>
                    <a:cubicBezTo>
                      <a:pt x="972" y="1055"/>
                      <a:pt x="978" y="1045"/>
                      <a:pt x="983" y="1036"/>
                    </a:cubicBezTo>
                    <a:cubicBezTo>
                      <a:pt x="988" y="1030"/>
                      <a:pt x="989" y="1019"/>
                      <a:pt x="991" y="1013"/>
                    </a:cubicBezTo>
                    <a:cubicBezTo>
                      <a:pt x="994" y="1003"/>
                      <a:pt x="992" y="1009"/>
                      <a:pt x="998" y="999"/>
                    </a:cubicBezTo>
                    <a:cubicBezTo>
                      <a:pt x="1003" y="992"/>
                      <a:pt x="1003" y="984"/>
                      <a:pt x="1005" y="977"/>
                    </a:cubicBezTo>
                    <a:cubicBezTo>
                      <a:pt x="1003" y="966"/>
                      <a:pt x="1000" y="970"/>
                      <a:pt x="989" y="974"/>
                    </a:cubicBezTo>
                    <a:cubicBezTo>
                      <a:pt x="971" y="986"/>
                      <a:pt x="941" y="983"/>
                      <a:pt x="921" y="983"/>
                    </a:cubicBezTo>
                    <a:cubicBezTo>
                      <a:pt x="892" y="981"/>
                      <a:pt x="895" y="977"/>
                      <a:pt x="878" y="961"/>
                    </a:cubicBezTo>
                    <a:cubicBezTo>
                      <a:pt x="875" y="949"/>
                      <a:pt x="867" y="944"/>
                      <a:pt x="858" y="936"/>
                    </a:cubicBezTo>
                    <a:cubicBezTo>
                      <a:pt x="853" y="933"/>
                      <a:pt x="844" y="930"/>
                      <a:pt x="844" y="930"/>
                    </a:cubicBezTo>
                    <a:cubicBezTo>
                      <a:pt x="837" y="909"/>
                      <a:pt x="828" y="891"/>
                      <a:pt x="817" y="872"/>
                    </a:cubicBezTo>
                    <a:cubicBezTo>
                      <a:pt x="811" y="866"/>
                      <a:pt x="816" y="869"/>
                      <a:pt x="805" y="863"/>
                    </a:cubicBezTo>
                    <a:cubicBezTo>
                      <a:pt x="802" y="859"/>
                      <a:pt x="796" y="856"/>
                      <a:pt x="796" y="856"/>
                    </a:cubicBezTo>
                    <a:cubicBezTo>
                      <a:pt x="786" y="842"/>
                      <a:pt x="794" y="825"/>
                      <a:pt x="785" y="813"/>
                    </a:cubicBezTo>
                    <a:cubicBezTo>
                      <a:pt x="774" y="794"/>
                      <a:pt x="759" y="772"/>
                      <a:pt x="745" y="758"/>
                    </a:cubicBezTo>
                    <a:cubicBezTo>
                      <a:pt x="742" y="744"/>
                      <a:pt x="737" y="736"/>
                      <a:pt x="729" y="723"/>
                    </a:cubicBezTo>
                    <a:cubicBezTo>
                      <a:pt x="726" y="720"/>
                      <a:pt x="723" y="709"/>
                      <a:pt x="723" y="709"/>
                    </a:cubicBezTo>
                    <a:cubicBezTo>
                      <a:pt x="740" y="705"/>
                      <a:pt x="757" y="733"/>
                      <a:pt x="766" y="744"/>
                    </a:cubicBezTo>
                    <a:cubicBezTo>
                      <a:pt x="771" y="758"/>
                      <a:pt x="771" y="759"/>
                      <a:pt x="786" y="764"/>
                    </a:cubicBezTo>
                    <a:cubicBezTo>
                      <a:pt x="793" y="766"/>
                      <a:pt x="800" y="773"/>
                      <a:pt x="800" y="773"/>
                    </a:cubicBezTo>
                    <a:cubicBezTo>
                      <a:pt x="803" y="780"/>
                      <a:pt x="808" y="784"/>
                      <a:pt x="813" y="791"/>
                    </a:cubicBezTo>
                    <a:cubicBezTo>
                      <a:pt x="813" y="803"/>
                      <a:pt x="814" y="809"/>
                      <a:pt x="817" y="819"/>
                    </a:cubicBezTo>
                    <a:cubicBezTo>
                      <a:pt x="819" y="842"/>
                      <a:pt x="820" y="841"/>
                      <a:pt x="839" y="847"/>
                    </a:cubicBezTo>
                    <a:cubicBezTo>
                      <a:pt x="844" y="852"/>
                      <a:pt x="847" y="856"/>
                      <a:pt x="851" y="861"/>
                    </a:cubicBezTo>
                    <a:cubicBezTo>
                      <a:pt x="851" y="863"/>
                      <a:pt x="853" y="864"/>
                      <a:pt x="853" y="866"/>
                    </a:cubicBezTo>
                    <a:cubicBezTo>
                      <a:pt x="853" y="869"/>
                      <a:pt x="853" y="874"/>
                      <a:pt x="855" y="877"/>
                    </a:cubicBezTo>
                    <a:cubicBezTo>
                      <a:pt x="856" y="884"/>
                      <a:pt x="870" y="889"/>
                      <a:pt x="875" y="894"/>
                    </a:cubicBezTo>
                    <a:cubicBezTo>
                      <a:pt x="887" y="927"/>
                      <a:pt x="870" y="945"/>
                      <a:pt x="910" y="955"/>
                    </a:cubicBezTo>
                    <a:cubicBezTo>
                      <a:pt x="921" y="953"/>
                      <a:pt x="926" y="955"/>
                      <a:pt x="933" y="949"/>
                    </a:cubicBezTo>
                    <a:cubicBezTo>
                      <a:pt x="938" y="942"/>
                      <a:pt x="944" y="941"/>
                      <a:pt x="951" y="936"/>
                    </a:cubicBezTo>
                    <a:cubicBezTo>
                      <a:pt x="972" y="924"/>
                      <a:pt x="978" y="920"/>
                      <a:pt x="1003" y="916"/>
                    </a:cubicBezTo>
                    <a:cubicBezTo>
                      <a:pt x="1009" y="914"/>
                      <a:pt x="1017" y="911"/>
                      <a:pt x="1025" y="909"/>
                    </a:cubicBezTo>
                    <a:cubicBezTo>
                      <a:pt x="1031" y="906"/>
                      <a:pt x="1036" y="899"/>
                      <a:pt x="1042" y="897"/>
                    </a:cubicBezTo>
                    <a:cubicBezTo>
                      <a:pt x="1051" y="894"/>
                      <a:pt x="1060" y="894"/>
                      <a:pt x="1068" y="888"/>
                    </a:cubicBezTo>
                    <a:cubicBezTo>
                      <a:pt x="1073" y="881"/>
                      <a:pt x="1079" y="877"/>
                      <a:pt x="1084" y="869"/>
                    </a:cubicBezTo>
                    <a:cubicBezTo>
                      <a:pt x="1087" y="861"/>
                      <a:pt x="1088" y="850"/>
                      <a:pt x="1098" y="844"/>
                    </a:cubicBezTo>
                    <a:cubicBezTo>
                      <a:pt x="1104" y="836"/>
                      <a:pt x="1105" y="825"/>
                      <a:pt x="1108" y="816"/>
                    </a:cubicBezTo>
                    <a:cubicBezTo>
                      <a:pt x="1110" y="811"/>
                      <a:pt x="1115" y="808"/>
                      <a:pt x="1116" y="803"/>
                    </a:cubicBezTo>
                    <a:cubicBezTo>
                      <a:pt x="1110" y="800"/>
                      <a:pt x="1110" y="805"/>
                      <a:pt x="1102" y="808"/>
                    </a:cubicBezTo>
                    <a:cubicBezTo>
                      <a:pt x="1099" y="802"/>
                      <a:pt x="1104" y="795"/>
                      <a:pt x="1098" y="792"/>
                    </a:cubicBezTo>
                    <a:cubicBezTo>
                      <a:pt x="1094" y="789"/>
                      <a:pt x="1084" y="788"/>
                      <a:pt x="1084" y="788"/>
                    </a:cubicBezTo>
                    <a:cubicBezTo>
                      <a:pt x="1077" y="780"/>
                      <a:pt x="1076" y="783"/>
                      <a:pt x="1067" y="786"/>
                    </a:cubicBezTo>
                    <a:cubicBezTo>
                      <a:pt x="1064" y="788"/>
                      <a:pt x="1057" y="789"/>
                      <a:pt x="1057" y="789"/>
                    </a:cubicBezTo>
                    <a:cubicBezTo>
                      <a:pt x="1054" y="789"/>
                      <a:pt x="1051" y="789"/>
                      <a:pt x="1048" y="788"/>
                    </a:cubicBezTo>
                    <a:cubicBezTo>
                      <a:pt x="1046" y="786"/>
                      <a:pt x="1045" y="778"/>
                      <a:pt x="1045" y="778"/>
                    </a:cubicBezTo>
                    <a:cubicBezTo>
                      <a:pt x="1046" y="778"/>
                      <a:pt x="1048" y="777"/>
                      <a:pt x="1050" y="775"/>
                    </a:cubicBezTo>
                    <a:cubicBezTo>
                      <a:pt x="1060" y="772"/>
                      <a:pt x="1067" y="778"/>
                      <a:pt x="1060" y="763"/>
                    </a:cubicBezTo>
                    <a:cubicBezTo>
                      <a:pt x="1059" y="763"/>
                      <a:pt x="1057" y="761"/>
                      <a:pt x="1056" y="761"/>
                    </a:cubicBezTo>
                    <a:cubicBezTo>
                      <a:pt x="1053" y="761"/>
                      <a:pt x="1048" y="761"/>
                      <a:pt x="1046" y="763"/>
                    </a:cubicBezTo>
                    <a:cubicBezTo>
                      <a:pt x="1046" y="764"/>
                      <a:pt x="1045" y="766"/>
                      <a:pt x="1043" y="767"/>
                    </a:cubicBezTo>
                    <a:cubicBezTo>
                      <a:pt x="1036" y="775"/>
                      <a:pt x="1025" y="777"/>
                      <a:pt x="1016" y="780"/>
                    </a:cubicBezTo>
                    <a:cubicBezTo>
                      <a:pt x="1011" y="780"/>
                      <a:pt x="1006" y="778"/>
                      <a:pt x="1003" y="777"/>
                    </a:cubicBezTo>
                    <a:cubicBezTo>
                      <a:pt x="1002" y="777"/>
                      <a:pt x="997" y="775"/>
                      <a:pt x="997" y="775"/>
                    </a:cubicBezTo>
                    <a:cubicBezTo>
                      <a:pt x="988" y="763"/>
                      <a:pt x="986" y="761"/>
                      <a:pt x="971" y="758"/>
                    </a:cubicBezTo>
                    <a:cubicBezTo>
                      <a:pt x="971" y="753"/>
                      <a:pt x="974" y="747"/>
                      <a:pt x="971" y="742"/>
                    </a:cubicBezTo>
                    <a:cubicBezTo>
                      <a:pt x="969" y="739"/>
                      <a:pt x="960" y="736"/>
                      <a:pt x="957" y="734"/>
                    </a:cubicBezTo>
                    <a:cubicBezTo>
                      <a:pt x="954" y="733"/>
                      <a:pt x="947" y="731"/>
                      <a:pt x="947" y="731"/>
                    </a:cubicBezTo>
                    <a:cubicBezTo>
                      <a:pt x="941" y="725"/>
                      <a:pt x="935" y="722"/>
                      <a:pt x="929" y="716"/>
                    </a:cubicBezTo>
                    <a:cubicBezTo>
                      <a:pt x="930" y="706"/>
                      <a:pt x="932" y="700"/>
                      <a:pt x="941" y="697"/>
                    </a:cubicBezTo>
                    <a:cubicBezTo>
                      <a:pt x="955" y="698"/>
                      <a:pt x="968" y="702"/>
                      <a:pt x="980" y="705"/>
                    </a:cubicBezTo>
                    <a:cubicBezTo>
                      <a:pt x="986" y="711"/>
                      <a:pt x="988" y="716"/>
                      <a:pt x="995" y="720"/>
                    </a:cubicBezTo>
                    <a:cubicBezTo>
                      <a:pt x="1005" y="734"/>
                      <a:pt x="1012" y="736"/>
                      <a:pt x="1025" y="744"/>
                    </a:cubicBezTo>
                    <a:cubicBezTo>
                      <a:pt x="1033" y="742"/>
                      <a:pt x="1045" y="747"/>
                      <a:pt x="1051" y="741"/>
                    </a:cubicBezTo>
                    <a:cubicBezTo>
                      <a:pt x="1060" y="733"/>
                      <a:pt x="1048" y="738"/>
                      <a:pt x="1059" y="734"/>
                    </a:cubicBezTo>
                    <a:cubicBezTo>
                      <a:pt x="1064" y="738"/>
                      <a:pt x="1068" y="739"/>
                      <a:pt x="1073" y="742"/>
                    </a:cubicBezTo>
                    <a:cubicBezTo>
                      <a:pt x="1079" y="752"/>
                      <a:pt x="1093" y="750"/>
                      <a:pt x="1104" y="753"/>
                    </a:cubicBezTo>
                    <a:cubicBezTo>
                      <a:pt x="1121" y="764"/>
                      <a:pt x="1110" y="759"/>
                      <a:pt x="1141" y="761"/>
                    </a:cubicBezTo>
                    <a:cubicBezTo>
                      <a:pt x="1152" y="763"/>
                      <a:pt x="1156" y="766"/>
                      <a:pt x="1163" y="775"/>
                    </a:cubicBezTo>
                    <a:cubicBezTo>
                      <a:pt x="1159" y="788"/>
                      <a:pt x="1167" y="781"/>
                      <a:pt x="1173" y="777"/>
                    </a:cubicBezTo>
                    <a:cubicBezTo>
                      <a:pt x="1175" y="770"/>
                      <a:pt x="1178" y="770"/>
                      <a:pt x="1181" y="764"/>
                    </a:cubicBezTo>
                    <a:cubicBezTo>
                      <a:pt x="1190" y="767"/>
                      <a:pt x="1189" y="772"/>
                      <a:pt x="1187" y="783"/>
                    </a:cubicBezTo>
                    <a:cubicBezTo>
                      <a:pt x="1195" y="789"/>
                      <a:pt x="1206" y="786"/>
                      <a:pt x="1215" y="789"/>
                    </a:cubicBezTo>
                    <a:cubicBezTo>
                      <a:pt x="1221" y="791"/>
                      <a:pt x="1226" y="797"/>
                      <a:pt x="1234" y="800"/>
                    </a:cubicBezTo>
                    <a:cubicBezTo>
                      <a:pt x="1245" y="803"/>
                      <a:pt x="1255" y="808"/>
                      <a:pt x="1265" y="816"/>
                    </a:cubicBezTo>
                    <a:cubicBezTo>
                      <a:pt x="1268" y="827"/>
                      <a:pt x="1272" y="831"/>
                      <a:pt x="1282" y="834"/>
                    </a:cubicBezTo>
                    <a:cubicBezTo>
                      <a:pt x="1286" y="842"/>
                      <a:pt x="1288" y="847"/>
                      <a:pt x="1296" y="852"/>
                    </a:cubicBezTo>
                    <a:cubicBezTo>
                      <a:pt x="1308" y="849"/>
                      <a:pt x="1302" y="850"/>
                      <a:pt x="1314" y="847"/>
                    </a:cubicBezTo>
                    <a:cubicBezTo>
                      <a:pt x="1316" y="845"/>
                      <a:pt x="1319" y="845"/>
                      <a:pt x="1319" y="845"/>
                    </a:cubicBezTo>
                    <a:cubicBezTo>
                      <a:pt x="1328" y="852"/>
                      <a:pt x="1322" y="842"/>
                      <a:pt x="1319" y="839"/>
                    </a:cubicBezTo>
                    <a:cubicBezTo>
                      <a:pt x="1316" y="844"/>
                      <a:pt x="1311" y="847"/>
                      <a:pt x="1310" y="853"/>
                    </a:cubicBezTo>
                    <a:cubicBezTo>
                      <a:pt x="1310" y="856"/>
                      <a:pt x="1307" y="863"/>
                      <a:pt x="1307" y="863"/>
                    </a:cubicBezTo>
                    <a:cubicBezTo>
                      <a:pt x="1308" y="869"/>
                      <a:pt x="1310" y="880"/>
                      <a:pt x="1319" y="880"/>
                    </a:cubicBezTo>
                    <a:lnTo>
                      <a:pt x="1320" y="916"/>
                    </a:lnTo>
                    <a:lnTo>
                      <a:pt x="1348" y="1005"/>
                    </a:lnTo>
                    <a:lnTo>
                      <a:pt x="1373" y="1033"/>
                    </a:lnTo>
                    <a:lnTo>
                      <a:pt x="1416" y="994"/>
                    </a:lnTo>
                    <a:lnTo>
                      <a:pt x="1413" y="967"/>
                    </a:lnTo>
                    <a:lnTo>
                      <a:pt x="1424" y="959"/>
                    </a:lnTo>
                    <a:lnTo>
                      <a:pt x="1423" y="925"/>
                    </a:lnTo>
                    <a:lnTo>
                      <a:pt x="1452" y="916"/>
                    </a:lnTo>
                    <a:lnTo>
                      <a:pt x="1520" y="855"/>
                    </a:lnTo>
                    <a:lnTo>
                      <a:pt x="1533" y="839"/>
                    </a:lnTo>
                    <a:lnTo>
                      <a:pt x="1588" y="824"/>
                    </a:lnTo>
                    <a:lnTo>
                      <a:pt x="1608" y="847"/>
                    </a:lnTo>
                    <a:lnTo>
                      <a:pt x="1602" y="858"/>
                    </a:lnTo>
                    <a:lnTo>
                      <a:pt x="1619" y="875"/>
                    </a:lnTo>
                    <a:lnTo>
                      <a:pt x="1624" y="899"/>
                    </a:lnTo>
                    <a:lnTo>
                      <a:pt x="1641" y="906"/>
                    </a:lnTo>
                    <a:lnTo>
                      <a:pt x="1677" y="892"/>
                    </a:lnTo>
                    <a:lnTo>
                      <a:pt x="1675" y="975"/>
                    </a:lnTo>
                    <a:lnTo>
                      <a:pt x="1684" y="956"/>
                    </a:lnTo>
                    <a:lnTo>
                      <a:pt x="1707" y="1000"/>
                    </a:lnTo>
                    <a:lnTo>
                      <a:pt x="1704" y="1030"/>
                    </a:lnTo>
                    <a:lnTo>
                      <a:pt x="1718" y="1013"/>
                    </a:lnTo>
                    <a:lnTo>
                      <a:pt x="1721" y="997"/>
                    </a:lnTo>
                    <a:lnTo>
                      <a:pt x="1738" y="972"/>
                    </a:lnTo>
                    <a:lnTo>
                      <a:pt x="1728" y="958"/>
                    </a:lnTo>
                    <a:lnTo>
                      <a:pt x="1737" y="942"/>
                    </a:lnTo>
                    <a:lnTo>
                      <a:pt x="1725" y="913"/>
                    </a:lnTo>
                    <a:lnTo>
                      <a:pt x="1732" y="889"/>
                    </a:lnTo>
                    <a:lnTo>
                      <a:pt x="1715" y="895"/>
                    </a:lnTo>
                    <a:lnTo>
                      <a:pt x="1707" y="874"/>
                    </a:lnTo>
                    <a:lnTo>
                      <a:pt x="1701" y="844"/>
                    </a:lnTo>
                    <a:lnTo>
                      <a:pt x="1714" y="816"/>
                    </a:lnTo>
                    <a:lnTo>
                      <a:pt x="1728" y="834"/>
                    </a:lnTo>
                    <a:lnTo>
                      <a:pt x="1721" y="880"/>
                    </a:lnTo>
                    <a:lnTo>
                      <a:pt x="1738" y="849"/>
                    </a:lnTo>
                    <a:lnTo>
                      <a:pt x="1732" y="824"/>
                    </a:lnTo>
                    <a:lnTo>
                      <a:pt x="1752" y="808"/>
                    </a:lnTo>
                    <a:lnTo>
                      <a:pt x="1752" y="797"/>
                    </a:lnTo>
                    <a:lnTo>
                      <a:pt x="1759" y="800"/>
                    </a:lnTo>
                    <a:lnTo>
                      <a:pt x="1796" y="756"/>
                    </a:lnTo>
                    <a:lnTo>
                      <a:pt x="1805" y="684"/>
                    </a:lnTo>
                    <a:lnTo>
                      <a:pt x="1810" y="655"/>
                    </a:lnTo>
                    <a:lnTo>
                      <a:pt x="1794" y="664"/>
                    </a:lnTo>
                    <a:lnTo>
                      <a:pt x="1788" y="655"/>
                    </a:lnTo>
                    <a:lnTo>
                      <a:pt x="1800" y="638"/>
                    </a:lnTo>
                    <a:lnTo>
                      <a:pt x="1776" y="592"/>
                    </a:lnTo>
                    <a:lnTo>
                      <a:pt x="1763" y="580"/>
                    </a:lnTo>
                    <a:lnTo>
                      <a:pt x="1783" y="544"/>
                    </a:lnTo>
                    <a:lnTo>
                      <a:pt x="1762" y="539"/>
                    </a:lnTo>
                    <a:lnTo>
                      <a:pt x="1743" y="531"/>
                    </a:lnTo>
                    <a:lnTo>
                      <a:pt x="1751" y="503"/>
                    </a:lnTo>
                    <a:lnTo>
                      <a:pt x="1763" y="487"/>
                    </a:lnTo>
                    <a:lnTo>
                      <a:pt x="1766" y="519"/>
                    </a:lnTo>
                    <a:lnTo>
                      <a:pt x="1788" y="498"/>
                    </a:lnTo>
                    <a:lnTo>
                      <a:pt x="1805" y="497"/>
                    </a:lnTo>
                    <a:lnTo>
                      <a:pt x="1797" y="519"/>
                    </a:lnTo>
                    <a:lnTo>
                      <a:pt x="1824" y="528"/>
                    </a:lnTo>
                    <a:lnTo>
                      <a:pt x="1816" y="545"/>
                    </a:lnTo>
                    <a:lnTo>
                      <a:pt x="1830" y="559"/>
                    </a:lnTo>
                    <a:lnTo>
                      <a:pt x="1830" y="588"/>
                    </a:lnTo>
                    <a:lnTo>
                      <a:pt x="1861" y="559"/>
                    </a:lnTo>
                    <a:lnTo>
                      <a:pt x="1850" y="531"/>
                    </a:lnTo>
                    <a:lnTo>
                      <a:pt x="1821" y="489"/>
                    </a:lnTo>
                    <a:lnTo>
                      <a:pt x="1830" y="473"/>
                    </a:lnTo>
                    <a:lnTo>
                      <a:pt x="1824" y="448"/>
                    </a:lnTo>
                    <a:lnTo>
                      <a:pt x="1844" y="427"/>
                    </a:lnTo>
                    <a:lnTo>
                      <a:pt x="1868" y="416"/>
                    </a:lnTo>
                    <a:lnTo>
                      <a:pt x="1867" y="367"/>
                    </a:lnTo>
                    <a:lnTo>
                      <a:pt x="1865" y="333"/>
                    </a:lnTo>
                    <a:lnTo>
                      <a:pt x="1858" y="302"/>
                    </a:lnTo>
                    <a:lnTo>
                      <a:pt x="1830" y="248"/>
                    </a:lnTo>
                    <a:lnTo>
                      <a:pt x="1825" y="275"/>
                    </a:lnTo>
                    <a:lnTo>
                      <a:pt x="1807" y="258"/>
                    </a:lnTo>
                    <a:lnTo>
                      <a:pt x="1790" y="266"/>
                    </a:lnTo>
                    <a:lnTo>
                      <a:pt x="1805" y="226"/>
                    </a:lnTo>
                    <a:lnTo>
                      <a:pt x="1821" y="192"/>
                    </a:lnTo>
                    <a:lnTo>
                      <a:pt x="1850" y="176"/>
                    </a:lnTo>
                    <a:lnTo>
                      <a:pt x="1853" y="161"/>
                    </a:lnTo>
                    <a:lnTo>
                      <a:pt x="1873" y="155"/>
                    </a:lnTo>
                    <a:lnTo>
                      <a:pt x="1873" y="170"/>
                    </a:lnTo>
                    <a:lnTo>
                      <a:pt x="1896" y="145"/>
                    </a:lnTo>
                    <a:lnTo>
                      <a:pt x="1882" y="139"/>
                    </a:lnTo>
                    <a:lnTo>
                      <a:pt x="1882" y="120"/>
                    </a:lnTo>
                    <a:lnTo>
                      <a:pt x="1899" y="108"/>
                    </a:lnTo>
                    <a:lnTo>
                      <a:pt x="1906" y="122"/>
                    </a:lnTo>
                    <a:lnTo>
                      <a:pt x="1929" y="100"/>
                    </a:lnTo>
                    <a:lnTo>
                      <a:pt x="1926" y="120"/>
                    </a:lnTo>
                    <a:lnTo>
                      <a:pt x="1927" y="136"/>
                    </a:lnTo>
                    <a:lnTo>
                      <a:pt x="1926" y="158"/>
                    </a:lnTo>
                    <a:lnTo>
                      <a:pt x="1918" y="175"/>
                    </a:lnTo>
                    <a:lnTo>
                      <a:pt x="1932" y="197"/>
                    </a:lnTo>
                    <a:lnTo>
                      <a:pt x="1938" y="212"/>
                    </a:lnTo>
                    <a:lnTo>
                      <a:pt x="1947" y="209"/>
                    </a:lnTo>
                    <a:lnTo>
                      <a:pt x="1992" y="256"/>
                    </a:lnTo>
                    <a:lnTo>
                      <a:pt x="2002" y="233"/>
                    </a:lnTo>
                    <a:lnTo>
                      <a:pt x="2014" y="216"/>
                    </a:lnTo>
                    <a:lnTo>
                      <a:pt x="1994" y="205"/>
                    </a:lnTo>
                    <a:lnTo>
                      <a:pt x="1999" y="184"/>
                    </a:lnTo>
                    <a:lnTo>
                      <a:pt x="1999" y="172"/>
                    </a:lnTo>
                    <a:lnTo>
                      <a:pt x="1978" y="150"/>
                    </a:lnTo>
                    <a:lnTo>
                      <a:pt x="1960" y="147"/>
                    </a:lnTo>
                    <a:lnTo>
                      <a:pt x="1943" y="123"/>
                    </a:lnTo>
                    <a:lnTo>
                      <a:pt x="1966" y="119"/>
                    </a:lnTo>
                    <a:lnTo>
                      <a:pt x="1977" y="100"/>
                    </a:lnTo>
                    <a:lnTo>
                      <a:pt x="1991" y="106"/>
                    </a:lnTo>
                    <a:lnTo>
                      <a:pt x="2005" y="98"/>
                    </a:lnTo>
                    <a:lnTo>
                      <a:pt x="1990" y="80"/>
                    </a:lnTo>
                    <a:lnTo>
                      <a:pt x="2002" y="69"/>
                    </a:lnTo>
                    <a:lnTo>
                      <a:pt x="2021" y="68"/>
                    </a:lnTo>
                    <a:lnTo>
                      <a:pt x="2000" y="53"/>
                    </a:lnTo>
                    <a:lnTo>
                      <a:pt x="1975" y="51"/>
                    </a:lnTo>
                    <a:lnTo>
                      <a:pt x="1990" y="32"/>
                    </a:lnTo>
                    <a:lnTo>
                      <a:pt x="1989" y="11"/>
                    </a:lnTo>
                    <a:lnTo>
                      <a:pt x="2005" y="27"/>
                    </a:lnTo>
                    <a:lnTo>
                      <a:pt x="2015" y="18"/>
                    </a:lnTo>
                    <a:lnTo>
                      <a:pt x="2024" y="21"/>
                    </a:lnTo>
                    <a:lnTo>
                      <a:pt x="2038" y="36"/>
                    </a:lnTo>
                    <a:lnTo>
                      <a:pt x="2060" y="33"/>
                    </a:lnTo>
                    <a:lnTo>
                      <a:pt x="2042" y="15"/>
                    </a:lnTo>
                    <a:lnTo>
                      <a:pt x="2038" y="0"/>
                    </a:lnTo>
                    <a:lnTo>
                      <a:pt x="2006" y="5"/>
                    </a:lnTo>
                    <a:lnTo>
                      <a:pt x="1994" y="0"/>
                    </a:lnTo>
                    <a:lnTo>
                      <a:pt x="1955" y="11"/>
                    </a:lnTo>
                    <a:lnTo>
                      <a:pt x="1913" y="18"/>
                    </a:lnTo>
                    <a:lnTo>
                      <a:pt x="1886" y="30"/>
                    </a:lnTo>
                    <a:lnTo>
                      <a:pt x="1885" y="47"/>
                    </a:lnTo>
                    <a:lnTo>
                      <a:pt x="1864" y="50"/>
                    </a:lnTo>
                    <a:cubicBezTo>
                      <a:pt x="1858" y="55"/>
                      <a:pt x="1854" y="75"/>
                      <a:pt x="1847" y="77"/>
                    </a:cubicBezTo>
                    <a:cubicBezTo>
                      <a:pt x="1839" y="82"/>
                      <a:pt x="1830" y="65"/>
                      <a:pt x="1820" y="63"/>
                    </a:cubicBezTo>
                    <a:lnTo>
                      <a:pt x="1786" y="66"/>
                    </a:lnTo>
                    <a:lnTo>
                      <a:pt x="1732" y="56"/>
                    </a:lnTo>
                    <a:lnTo>
                      <a:pt x="1709" y="62"/>
                    </a:lnTo>
                    <a:lnTo>
                      <a:pt x="1678" y="56"/>
                    </a:lnTo>
                    <a:lnTo>
                      <a:pt x="1666" y="47"/>
                    </a:lnTo>
                    <a:lnTo>
                      <a:pt x="1643" y="50"/>
                    </a:lnTo>
                    <a:cubicBezTo>
                      <a:pt x="1635" y="52"/>
                      <a:pt x="1626" y="57"/>
                      <a:pt x="1618" y="60"/>
                    </a:cubicBezTo>
                    <a:cubicBezTo>
                      <a:pt x="1610" y="63"/>
                      <a:pt x="1603" y="67"/>
                      <a:pt x="1597" y="71"/>
                    </a:cubicBezTo>
                    <a:cubicBezTo>
                      <a:pt x="1591" y="75"/>
                      <a:pt x="1587" y="84"/>
                      <a:pt x="1583" y="83"/>
                    </a:cubicBezTo>
                    <a:cubicBezTo>
                      <a:pt x="1571" y="90"/>
                      <a:pt x="1576" y="67"/>
                      <a:pt x="1571" y="65"/>
                    </a:cubicBezTo>
                    <a:lnTo>
                      <a:pt x="1553" y="69"/>
                    </a:lnTo>
                    <a:cubicBezTo>
                      <a:pt x="1544" y="66"/>
                      <a:pt x="1531" y="50"/>
                      <a:pt x="1517" y="47"/>
                    </a:cubicBezTo>
                    <a:cubicBezTo>
                      <a:pt x="1503" y="46"/>
                      <a:pt x="1479" y="45"/>
                      <a:pt x="1468" y="48"/>
                    </a:cubicBezTo>
                    <a:cubicBezTo>
                      <a:pt x="1457" y="51"/>
                      <a:pt x="1461" y="63"/>
                      <a:pt x="1451" y="63"/>
                    </a:cubicBezTo>
                    <a:cubicBezTo>
                      <a:pt x="1439" y="66"/>
                      <a:pt x="1419" y="48"/>
                      <a:pt x="1408" y="47"/>
                    </a:cubicBezTo>
                    <a:cubicBezTo>
                      <a:pt x="1397" y="46"/>
                      <a:pt x="1390" y="59"/>
                      <a:pt x="1382" y="59"/>
                    </a:cubicBezTo>
                    <a:cubicBezTo>
                      <a:pt x="1374" y="59"/>
                      <a:pt x="1362" y="52"/>
                      <a:pt x="1357" y="47"/>
                    </a:cubicBezTo>
                    <a:cubicBezTo>
                      <a:pt x="1352" y="42"/>
                      <a:pt x="1356" y="36"/>
                      <a:pt x="1349" y="30"/>
                    </a:cubicBezTo>
                    <a:cubicBezTo>
                      <a:pt x="1333" y="26"/>
                      <a:pt x="1330" y="13"/>
                      <a:pt x="1318" y="11"/>
                    </a:cubicBezTo>
                    <a:cubicBezTo>
                      <a:pt x="1306" y="9"/>
                      <a:pt x="1287" y="20"/>
                      <a:pt x="1277" y="20"/>
                    </a:cubicBezTo>
                    <a:cubicBezTo>
                      <a:pt x="1267" y="20"/>
                      <a:pt x="1268" y="10"/>
                      <a:pt x="1259" y="9"/>
                    </a:cubicBezTo>
                    <a:lnTo>
                      <a:pt x="1222" y="14"/>
                    </a:lnTo>
                    <a:lnTo>
                      <a:pt x="1210" y="32"/>
                    </a:lnTo>
                    <a:cubicBezTo>
                      <a:pt x="1203" y="35"/>
                      <a:pt x="1187" y="28"/>
                      <a:pt x="1178" y="29"/>
                    </a:cubicBezTo>
                    <a:cubicBezTo>
                      <a:pt x="1169" y="30"/>
                      <a:pt x="1164" y="36"/>
                      <a:pt x="1154" y="39"/>
                    </a:cubicBezTo>
                    <a:cubicBezTo>
                      <a:pt x="1144" y="42"/>
                      <a:pt x="1124" y="44"/>
                      <a:pt x="1120" y="48"/>
                    </a:cubicBezTo>
                    <a:cubicBezTo>
                      <a:pt x="1109" y="57"/>
                      <a:pt x="1132" y="61"/>
                      <a:pt x="1132" y="65"/>
                    </a:cubicBezTo>
                    <a:cubicBezTo>
                      <a:pt x="1132" y="69"/>
                      <a:pt x="1126" y="70"/>
                      <a:pt x="1118" y="72"/>
                    </a:cubicBezTo>
                    <a:cubicBezTo>
                      <a:pt x="1110" y="74"/>
                      <a:pt x="1084" y="72"/>
                      <a:pt x="1085" y="77"/>
                    </a:cubicBezTo>
                    <a:cubicBezTo>
                      <a:pt x="1085" y="86"/>
                      <a:pt x="1126" y="103"/>
                      <a:pt x="1127" y="105"/>
                    </a:cubicBezTo>
                    <a:lnTo>
                      <a:pt x="1090" y="90"/>
                    </a:lnTo>
                    <a:lnTo>
                      <a:pt x="1072" y="95"/>
                    </a:lnTo>
                    <a:cubicBezTo>
                      <a:pt x="1063" y="93"/>
                      <a:pt x="1039" y="65"/>
                      <a:pt x="1033" y="80"/>
                    </a:cubicBezTo>
                    <a:cubicBezTo>
                      <a:pt x="1027" y="95"/>
                      <a:pt x="1077" y="132"/>
                      <a:pt x="1084" y="147"/>
                    </a:cubicBezTo>
                    <a:lnTo>
                      <a:pt x="1075" y="171"/>
                    </a:lnTo>
                    <a:lnTo>
                      <a:pt x="1040" y="170"/>
                    </a:lnTo>
                    <a:cubicBezTo>
                      <a:pt x="1040" y="170"/>
                      <a:pt x="1061" y="164"/>
                      <a:pt x="1060" y="155"/>
                    </a:cubicBezTo>
                    <a:cubicBezTo>
                      <a:pt x="1059" y="146"/>
                      <a:pt x="1043" y="127"/>
                      <a:pt x="1031" y="113"/>
                    </a:cubicBezTo>
                    <a:cubicBezTo>
                      <a:pt x="1025" y="101"/>
                      <a:pt x="1030" y="84"/>
                      <a:pt x="1024" y="81"/>
                    </a:cubicBezTo>
                    <a:cubicBezTo>
                      <a:pt x="1018" y="78"/>
                      <a:pt x="997" y="65"/>
                      <a:pt x="989" y="71"/>
                    </a:cubicBezTo>
                    <a:cubicBezTo>
                      <a:pt x="968" y="74"/>
                      <a:pt x="970" y="107"/>
                      <a:pt x="974" y="116"/>
                    </a:cubicBezTo>
                    <a:cubicBezTo>
                      <a:pt x="978" y="125"/>
                      <a:pt x="1009" y="122"/>
                      <a:pt x="1012" y="125"/>
                    </a:cubicBezTo>
                    <a:cubicBezTo>
                      <a:pt x="1028" y="153"/>
                      <a:pt x="1005" y="143"/>
                      <a:pt x="989" y="134"/>
                    </a:cubicBezTo>
                    <a:cubicBezTo>
                      <a:pt x="973" y="125"/>
                      <a:pt x="968" y="128"/>
                      <a:pt x="958" y="128"/>
                    </a:cubicBezTo>
                    <a:cubicBezTo>
                      <a:pt x="948" y="128"/>
                      <a:pt x="931" y="133"/>
                      <a:pt x="926" y="137"/>
                    </a:cubicBezTo>
                    <a:cubicBezTo>
                      <a:pt x="921" y="141"/>
                      <a:pt x="939" y="157"/>
                      <a:pt x="926" y="152"/>
                    </a:cubicBezTo>
                    <a:cubicBezTo>
                      <a:pt x="913" y="147"/>
                      <a:pt x="899" y="149"/>
                      <a:pt x="886" y="147"/>
                    </a:cubicBezTo>
                    <a:cubicBezTo>
                      <a:pt x="873" y="145"/>
                      <a:pt x="863" y="136"/>
                      <a:pt x="847" y="140"/>
                    </a:cubicBezTo>
                    <a:cubicBezTo>
                      <a:pt x="825" y="147"/>
                      <a:pt x="794" y="185"/>
                      <a:pt x="787" y="171"/>
                    </a:cubicBezTo>
                    <a:cubicBezTo>
                      <a:pt x="780" y="157"/>
                      <a:pt x="800" y="155"/>
                      <a:pt x="800" y="150"/>
                    </a:cubicBezTo>
                    <a:cubicBezTo>
                      <a:pt x="800" y="145"/>
                      <a:pt x="796" y="138"/>
                      <a:pt x="790" y="138"/>
                    </a:cubicBezTo>
                    <a:cubicBezTo>
                      <a:pt x="784" y="138"/>
                      <a:pt x="764" y="144"/>
                      <a:pt x="763" y="152"/>
                    </a:cubicBezTo>
                    <a:cubicBezTo>
                      <a:pt x="761" y="163"/>
                      <a:pt x="783" y="181"/>
                      <a:pt x="782" y="186"/>
                    </a:cubicBezTo>
                    <a:cubicBezTo>
                      <a:pt x="781" y="191"/>
                      <a:pt x="765" y="180"/>
                      <a:pt x="758" y="183"/>
                    </a:cubicBezTo>
                    <a:cubicBezTo>
                      <a:pt x="751" y="186"/>
                      <a:pt x="746" y="207"/>
                      <a:pt x="742" y="203"/>
                    </a:cubicBezTo>
                    <a:lnTo>
                      <a:pt x="728" y="189"/>
                    </a:lnTo>
                    <a:lnTo>
                      <a:pt x="746" y="170"/>
                    </a:lnTo>
                    <a:lnTo>
                      <a:pt x="733" y="158"/>
                    </a:lnTo>
                    <a:cubicBezTo>
                      <a:pt x="727" y="155"/>
                      <a:pt x="718" y="150"/>
                      <a:pt x="712" y="149"/>
                    </a:cubicBezTo>
                    <a:cubicBezTo>
                      <a:pt x="706" y="148"/>
                      <a:pt x="701" y="154"/>
                      <a:pt x="698" y="152"/>
                    </a:cubicBezTo>
                    <a:cubicBezTo>
                      <a:pt x="695" y="150"/>
                      <a:pt x="698" y="139"/>
                      <a:pt x="695" y="138"/>
                    </a:cubicBezTo>
                    <a:cubicBezTo>
                      <a:pt x="692" y="137"/>
                      <a:pt x="685" y="146"/>
                      <a:pt x="680" y="146"/>
                    </a:cubicBezTo>
                    <a:cubicBezTo>
                      <a:pt x="675" y="146"/>
                      <a:pt x="677" y="142"/>
                      <a:pt x="667" y="140"/>
                    </a:cubicBezTo>
                    <a:cubicBezTo>
                      <a:pt x="657" y="138"/>
                      <a:pt x="632" y="139"/>
                      <a:pt x="622" y="135"/>
                    </a:cubicBezTo>
                    <a:cubicBezTo>
                      <a:pt x="612" y="131"/>
                      <a:pt x="632" y="117"/>
                      <a:pt x="608" y="113"/>
                    </a:cubicBezTo>
                    <a:cubicBezTo>
                      <a:pt x="584" y="109"/>
                      <a:pt x="590" y="119"/>
                      <a:pt x="583" y="119"/>
                    </a:cubicBezTo>
                    <a:lnTo>
                      <a:pt x="568" y="114"/>
                    </a:lnTo>
                    <a:cubicBezTo>
                      <a:pt x="555" y="116"/>
                      <a:pt x="521" y="125"/>
                      <a:pt x="505" y="131"/>
                    </a:cubicBezTo>
                    <a:cubicBezTo>
                      <a:pt x="482" y="140"/>
                      <a:pt x="485" y="140"/>
                      <a:pt x="472" y="152"/>
                    </a:cubicBezTo>
                    <a:cubicBezTo>
                      <a:pt x="459" y="164"/>
                      <a:pt x="443" y="192"/>
                      <a:pt x="428" y="204"/>
                    </a:cubicBezTo>
                    <a:cubicBezTo>
                      <a:pt x="410" y="223"/>
                      <a:pt x="393" y="217"/>
                      <a:pt x="382" y="224"/>
                    </a:cubicBezTo>
                    <a:lnTo>
                      <a:pt x="364" y="248"/>
                    </a:lnTo>
                    <a:lnTo>
                      <a:pt x="368" y="290"/>
                    </a:lnTo>
                    <a:lnTo>
                      <a:pt x="389" y="306"/>
                    </a:lnTo>
                    <a:lnTo>
                      <a:pt x="436" y="290"/>
                    </a:lnTo>
                    <a:cubicBezTo>
                      <a:pt x="447" y="296"/>
                      <a:pt x="448" y="335"/>
                      <a:pt x="457" y="341"/>
                    </a:cubicBezTo>
                    <a:cubicBezTo>
                      <a:pt x="468" y="348"/>
                      <a:pt x="486" y="330"/>
                      <a:pt x="491" y="324"/>
                    </a:cubicBezTo>
                    <a:lnTo>
                      <a:pt x="496" y="300"/>
                    </a:lnTo>
                    <a:lnTo>
                      <a:pt x="514" y="281"/>
                    </a:lnTo>
                    <a:cubicBezTo>
                      <a:pt x="515" y="270"/>
                      <a:pt x="499" y="245"/>
                      <a:pt x="502" y="234"/>
                    </a:cubicBezTo>
                    <a:cubicBezTo>
                      <a:pt x="505" y="225"/>
                      <a:pt x="526" y="220"/>
                      <a:pt x="535" y="213"/>
                    </a:cubicBezTo>
                    <a:cubicBezTo>
                      <a:pt x="544" y="206"/>
                      <a:pt x="546" y="192"/>
                      <a:pt x="554" y="191"/>
                    </a:cubicBezTo>
                    <a:cubicBezTo>
                      <a:pt x="567" y="190"/>
                      <a:pt x="580" y="200"/>
                      <a:pt x="581" y="204"/>
                    </a:cubicBezTo>
                    <a:cubicBezTo>
                      <a:pt x="581" y="208"/>
                      <a:pt x="560" y="200"/>
                      <a:pt x="557" y="215"/>
                    </a:cubicBezTo>
                    <a:cubicBezTo>
                      <a:pt x="554" y="230"/>
                      <a:pt x="535" y="233"/>
                      <a:pt x="533" y="242"/>
                    </a:cubicBezTo>
                    <a:lnTo>
                      <a:pt x="548" y="267"/>
                    </a:lnTo>
                    <a:lnTo>
                      <a:pt x="571" y="276"/>
                    </a:lnTo>
                    <a:lnTo>
                      <a:pt x="598" y="264"/>
                    </a:lnTo>
                    <a:lnTo>
                      <a:pt x="625" y="261"/>
                    </a:lnTo>
                    <a:cubicBezTo>
                      <a:pt x="632" y="263"/>
                      <a:pt x="645" y="271"/>
                      <a:pt x="638" y="276"/>
                    </a:cubicBezTo>
                    <a:cubicBezTo>
                      <a:pt x="631" y="281"/>
                      <a:pt x="593" y="287"/>
                      <a:pt x="584" y="293"/>
                    </a:cubicBezTo>
                    <a:cubicBezTo>
                      <a:pt x="575" y="299"/>
                      <a:pt x="587" y="309"/>
                      <a:pt x="581" y="311"/>
                    </a:cubicBezTo>
                    <a:cubicBezTo>
                      <a:pt x="567" y="319"/>
                      <a:pt x="556" y="301"/>
                      <a:pt x="550" y="303"/>
                    </a:cubicBezTo>
                    <a:lnTo>
                      <a:pt x="547" y="323"/>
                    </a:lnTo>
                    <a:lnTo>
                      <a:pt x="536" y="350"/>
                    </a:lnTo>
                    <a:lnTo>
                      <a:pt x="512" y="351"/>
                    </a:lnTo>
                    <a:lnTo>
                      <a:pt x="476" y="360"/>
                    </a:lnTo>
                    <a:lnTo>
                      <a:pt x="457" y="351"/>
                    </a:lnTo>
                    <a:lnTo>
                      <a:pt x="443" y="357"/>
                    </a:lnTo>
                    <a:lnTo>
                      <a:pt x="419" y="342"/>
                    </a:lnTo>
                    <a:cubicBezTo>
                      <a:pt x="417" y="335"/>
                      <a:pt x="433" y="329"/>
                      <a:pt x="428" y="317"/>
                    </a:cubicBezTo>
                    <a:cubicBezTo>
                      <a:pt x="423" y="305"/>
                      <a:pt x="396" y="313"/>
                      <a:pt x="392" y="321"/>
                    </a:cubicBezTo>
                    <a:lnTo>
                      <a:pt x="397" y="362"/>
                    </a:lnTo>
                    <a:lnTo>
                      <a:pt x="373" y="362"/>
                    </a:lnTo>
                    <a:cubicBezTo>
                      <a:pt x="365" y="366"/>
                      <a:pt x="355" y="380"/>
                      <a:pt x="347" y="386"/>
                    </a:cubicBezTo>
                    <a:cubicBezTo>
                      <a:pt x="339" y="392"/>
                      <a:pt x="332" y="379"/>
                      <a:pt x="322" y="399"/>
                    </a:cubicBezTo>
                    <a:cubicBezTo>
                      <a:pt x="312" y="419"/>
                      <a:pt x="301" y="411"/>
                      <a:pt x="293" y="414"/>
                    </a:cubicBezTo>
                    <a:cubicBezTo>
                      <a:pt x="285" y="417"/>
                      <a:pt x="280" y="414"/>
                      <a:pt x="275" y="416"/>
                    </a:cubicBezTo>
                    <a:cubicBezTo>
                      <a:pt x="270" y="418"/>
                      <a:pt x="267" y="426"/>
                      <a:pt x="260" y="426"/>
                    </a:cubicBezTo>
                    <a:cubicBezTo>
                      <a:pt x="253" y="426"/>
                      <a:pt x="238" y="417"/>
                      <a:pt x="232" y="419"/>
                    </a:cubicBezTo>
                    <a:cubicBezTo>
                      <a:pt x="226" y="421"/>
                      <a:pt x="221" y="432"/>
                      <a:pt x="226" y="437"/>
                    </a:cubicBezTo>
                    <a:lnTo>
                      <a:pt x="263" y="449"/>
                    </a:lnTo>
                    <a:lnTo>
                      <a:pt x="272" y="474"/>
                    </a:lnTo>
                    <a:lnTo>
                      <a:pt x="262" y="503"/>
                    </a:lnTo>
                    <a:cubicBezTo>
                      <a:pt x="251" y="507"/>
                      <a:pt x="223" y="499"/>
                      <a:pt x="206" y="498"/>
                    </a:cubicBezTo>
                    <a:cubicBezTo>
                      <a:pt x="189" y="497"/>
                      <a:pt x="164" y="492"/>
                      <a:pt x="158" y="498"/>
                    </a:cubicBezTo>
                    <a:cubicBezTo>
                      <a:pt x="152" y="504"/>
                      <a:pt x="167" y="527"/>
                      <a:pt x="167" y="537"/>
                    </a:cubicBezTo>
                    <a:cubicBezTo>
                      <a:pt x="167" y="547"/>
                      <a:pt x="159" y="551"/>
                      <a:pt x="157" y="557"/>
                    </a:cubicBezTo>
                    <a:cubicBezTo>
                      <a:pt x="155" y="563"/>
                      <a:pt x="161" y="569"/>
                      <a:pt x="157" y="576"/>
                    </a:cubicBezTo>
                    <a:cubicBezTo>
                      <a:pt x="153" y="583"/>
                      <a:pt x="127" y="594"/>
                      <a:pt x="130" y="597"/>
                    </a:cubicBezTo>
                    <a:cubicBezTo>
                      <a:pt x="139" y="606"/>
                      <a:pt x="160" y="592"/>
                      <a:pt x="176" y="592"/>
                    </a:cubicBezTo>
                    <a:lnTo>
                      <a:pt x="226" y="598"/>
                    </a:lnTo>
                    <a:lnTo>
                      <a:pt x="260" y="588"/>
                    </a:lnTo>
                    <a:lnTo>
                      <a:pt x="274" y="576"/>
                    </a:lnTo>
                    <a:cubicBezTo>
                      <a:pt x="282" y="573"/>
                      <a:pt x="306" y="573"/>
                      <a:pt x="307" y="569"/>
                    </a:cubicBezTo>
                    <a:cubicBezTo>
                      <a:pt x="321" y="557"/>
                      <a:pt x="283" y="559"/>
                      <a:pt x="283" y="552"/>
                    </a:cubicBezTo>
                    <a:cubicBezTo>
                      <a:pt x="283" y="545"/>
                      <a:pt x="300" y="533"/>
                      <a:pt x="307" y="528"/>
                    </a:cubicBezTo>
                    <a:lnTo>
                      <a:pt x="325" y="522"/>
                    </a:lnTo>
                    <a:lnTo>
                      <a:pt x="320" y="503"/>
                    </a:lnTo>
                    <a:cubicBezTo>
                      <a:pt x="323" y="499"/>
                      <a:pt x="336" y="495"/>
                      <a:pt x="342" y="495"/>
                    </a:cubicBezTo>
                    <a:cubicBezTo>
                      <a:pt x="348" y="495"/>
                      <a:pt x="350" y="506"/>
                      <a:pt x="358" y="505"/>
                    </a:cubicBezTo>
                    <a:cubicBezTo>
                      <a:pt x="366" y="504"/>
                      <a:pt x="384" y="490"/>
                      <a:pt x="393" y="491"/>
                    </a:cubicBezTo>
                    <a:lnTo>
                      <a:pt x="415" y="510"/>
                    </a:lnTo>
                    <a:cubicBezTo>
                      <a:pt x="416" y="517"/>
                      <a:pt x="407" y="520"/>
                      <a:pt x="401" y="530"/>
                    </a:cubicBezTo>
                    <a:lnTo>
                      <a:pt x="381" y="573"/>
                    </a:lnTo>
                    <a:lnTo>
                      <a:pt x="406" y="576"/>
                    </a:lnTo>
                    <a:lnTo>
                      <a:pt x="412" y="561"/>
                    </a:lnTo>
                    <a:lnTo>
                      <a:pt x="404" y="543"/>
                    </a:lnTo>
                    <a:cubicBezTo>
                      <a:pt x="406" y="539"/>
                      <a:pt x="417" y="541"/>
                      <a:pt x="423" y="538"/>
                    </a:cubicBezTo>
                    <a:cubicBezTo>
                      <a:pt x="430" y="537"/>
                      <a:pt x="435" y="526"/>
                      <a:pt x="441" y="527"/>
                    </a:cubicBezTo>
                    <a:cubicBezTo>
                      <a:pt x="447" y="528"/>
                      <a:pt x="453" y="542"/>
                      <a:pt x="460" y="547"/>
                    </a:cubicBezTo>
                    <a:lnTo>
                      <a:pt x="483" y="559"/>
                    </a:lnTo>
                    <a:lnTo>
                      <a:pt x="490" y="573"/>
                    </a:lnTo>
                    <a:lnTo>
                      <a:pt x="493" y="590"/>
                    </a:lnTo>
                    <a:lnTo>
                      <a:pt x="508" y="579"/>
                    </a:lnTo>
                    <a:cubicBezTo>
                      <a:pt x="508" y="579"/>
                      <a:pt x="507" y="566"/>
                      <a:pt x="509" y="564"/>
                    </a:cubicBezTo>
                    <a:cubicBezTo>
                      <a:pt x="513" y="561"/>
                      <a:pt x="512" y="581"/>
                      <a:pt x="521" y="569"/>
                    </a:cubicBezTo>
                    <a:cubicBezTo>
                      <a:pt x="530" y="557"/>
                      <a:pt x="525" y="556"/>
                      <a:pt x="515" y="549"/>
                    </a:cubicBezTo>
                    <a:lnTo>
                      <a:pt x="468" y="523"/>
                    </a:lnTo>
                    <a:lnTo>
                      <a:pt x="441" y="508"/>
                    </a:lnTo>
                    <a:lnTo>
                      <a:pt x="455" y="480"/>
                    </a:lnTo>
                    <a:lnTo>
                      <a:pt x="464" y="498"/>
                    </a:lnTo>
                    <a:lnTo>
                      <a:pt x="487" y="512"/>
                    </a:lnTo>
                    <a:lnTo>
                      <a:pt x="517" y="527"/>
                    </a:lnTo>
                    <a:cubicBezTo>
                      <a:pt x="526" y="535"/>
                      <a:pt x="529" y="546"/>
                      <a:pt x="539" y="559"/>
                    </a:cubicBezTo>
                    <a:cubicBezTo>
                      <a:pt x="549" y="572"/>
                      <a:pt x="570" y="602"/>
                      <a:pt x="579" y="608"/>
                    </a:cubicBezTo>
                    <a:cubicBezTo>
                      <a:pt x="588" y="614"/>
                      <a:pt x="588" y="598"/>
                      <a:pt x="592" y="597"/>
                    </a:cubicBezTo>
                    <a:cubicBezTo>
                      <a:pt x="596" y="594"/>
                      <a:pt x="604" y="602"/>
                      <a:pt x="604" y="599"/>
                    </a:cubicBezTo>
                    <a:cubicBezTo>
                      <a:pt x="604" y="596"/>
                      <a:pt x="596" y="583"/>
                      <a:pt x="593" y="578"/>
                    </a:cubicBezTo>
                    <a:cubicBezTo>
                      <a:pt x="589" y="574"/>
                      <a:pt x="590" y="568"/>
                      <a:pt x="587" y="567"/>
                    </a:cubicBezTo>
                    <a:cubicBezTo>
                      <a:pt x="585" y="563"/>
                      <a:pt x="583" y="558"/>
                      <a:pt x="584" y="555"/>
                    </a:cubicBezTo>
                    <a:cubicBezTo>
                      <a:pt x="585" y="552"/>
                      <a:pt x="589" y="550"/>
                      <a:pt x="592" y="548"/>
                    </a:cubicBezTo>
                    <a:lnTo>
                      <a:pt x="601" y="542"/>
                    </a:lnTo>
                    <a:cubicBezTo>
                      <a:pt x="607" y="541"/>
                      <a:pt x="621" y="541"/>
                      <a:pt x="627" y="541"/>
                    </a:cubicBezTo>
                    <a:cubicBezTo>
                      <a:pt x="633" y="541"/>
                      <a:pt x="636" y="541"/>
                      <a:pt x="640" y="539"/>
                    </a:cubicBezTo>
                    <a:cubicBezTo>
                      <a:pt x="644" y="537"/>
                      <a:pt x="648" y="532"/>
                      <a:pt x="650" y="528"/>
                    </a:cubicBezTo>
                    <a:lnTo>
                      <a:pt x="653" y="513"/>
                    </a:lnTo>
                    <a:lnTo>
                      <a:pt x="639" y="505"/>
                    </a:lnTo>
                    <a:cubicBezTo>
                      <a:pt x="639" y="503"/>
                      <a:pt x="650" y="505"/>
                      <a:pt x="655" y="501"/>
                    </a:cubicBezTo>
                    <a:cubicBezTo>
                      <a:pt x="660" y="497"/>
                      <a:pt x="665" y="488"/>
                      <a:pt x="670" y="483"/>
                    </a:cubicBezTo>
                    <a:cubicBezTo>
                      <a:pt x="675" y="478"/>
                      <a:pt x="681" y="471"/>
                      <a:pt x="686" y="470"/>
                    </a:cubicBezTo>
                    <a:lnTo>
                      <a:pt x="703" y="476"/>
                    </a:lnTo>
                    <a:lnTo>
                      <a:pt x="718" y="494"/>
                    </a:lnTo>
                    <a:cubicBezTo>
                      <a:pt x="723" y="498"/>
                      <a:pt x="727" y="503"/>
                      <a:pt x="731" y="501"/>
                    </a:cubicBezTo>
                    <a:cubicBezTo>
                      <a:pt x="735" y="499"/>
                      <a:pt x="742" y="488"/>
                      <a:pt x="742" y="482"/>
                    </a:cubicBezTo>
                    <a:lnTo>
                      <a:pt x="728" y="466"/>
                    </a:lnTo>
                    <a:cubicBezTo>
                      <a:pt x="730" y="462"/>
                      <a:pt x="746" y="463"/>
                      <a:pt x="755" y="459"/>
                    </a:cubicBezTo>
                    <a:cubicBezTo>
                      <a:pt x="764" y="455"/>
                      <a:pt x="777" y="444"/>
                      <a:pt x="782" y="444"/>
                    </a:cubicBezTo>
                    <a:cubicBezTo>
                      <a:pt x="787" y="444"/>
                      <a:pt x="786" y="452"/>
                      <a:pt x="784" y="458"/>
                    </a:cubicBezTo>
                    <a:cubicBezTo>
                      <a:pt x="782" y="464"/>
                      <a:pt x="765" y="469"/>
                      <a:pt x="772" y="480"/>
                    </a:cubicBezTo>
                    <a:cubicBezTo>
                      <a:pt x="779" y="491"/>
                      <a:pt x="820" y="516"/>
                      <a:pt x="824" y="525"/>
                    </a:cubicBezTo>
                    <a:cubicBezTo>
                      <a:pt x="828" y="534"/>
                      <a:pt x="808" y="535"/>
                      <a:pt x="796" y="537"/>
                    </a:cubicBezTo>
                    <a:cubicBezTo>
                      <a:pt x="784" y="539"/>
                      <a:pt x="763" y="541"/>
                      <a:pt x="751" y="539"/>
                    </a:cubicBezTo>
                    <a:cubicBezTo>
                      <a:pt x="739" y="537"/>
                      <a:pt x="739" y="524"/>
                      <a:pt x="722" y="524"/>
                    </a:cubicBezTo>
                    <a:cubicBezTo>
                      <a:pt x="705" y="524"/>
                      <a:pt x="707" y="533"/>
                      <a:pt x="697" y="537"/>
                    </a:cubicBezTo>
                    <a:lnTo>
                      <a:pt x="667" y="538"/>
                    </a:lnTo>
                    <a:lnTo>
                      <a:pt x="623" y="560"/>
                    </a:lnTo>
                    <a:lnTo>
                      <a:pt x="634" y="576"/>
                    </a:lnTo>
                    <a:lnTo>
                      <a:pt x="639" y="598"/>
                    </a:lnTo>
                    <a:lnTo>
                      <a:pt x="669" y="617"/>
                    </a:lnTo>
                    <a:lnTo>
                      <a:pt x="700" y="602"/>
                    </a:lnTo>
                    <a:lnTo>
                      <a:pt x="718" y="611"/>
                    </a:lnTo>
                    <a:lnTo>
                      <a:pt x="752" y="608"/>
                    </a:lnTo>
                    <a:lnTo>
                      <a:pt x="757" y="644"/>
                    </a:lnTo>
                    <a:lnTo>
                      <a:pt x="697" y="677"/>
                    </a:ln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17" name="Group 82"/>
            <p:cNvGrpSpPr>
              <a:grpSpLocks/>
            </p:cNvGrpSpPr>
            <p:nvPr/>
          </p:nvGrpSpPr>
          <p:grpSpPr bwMode="auto">
            <a:xfrm>
              <a:off x="2287" y="0"/>
              <a:ext cx="1874" cy="2024"/>
              <a:chOff x="0" y="0"/>
              <a:chExt cx="1874" cy="2024"/>
            </a:xfrm>
          </p:grpSpPr>
          <p:sp>
            <p:nvSpPr>
              <p:cNvPr id="18" name="未知"/>
              <p:cNvSpPr>
                <a:spLocks/>
              </p:cNvSpPr>
              <p:nvPr/>
            </p:nvSpPr>
            <p:spPr bwMode="auto">
              <a:xfrm>
                <a:off x="81" y="94"/>
                <a:ext cx="1299" cy="1930"/>
              </a:xfrm>
              <a:custGeom>
                <a:avLst/>
                <a:gdLst/>
                <a:ahLst/>
                <a:cxnLst>
                  <a:cxn ang="0">
                    <a:pos x="116" y="258"/>
                  </a:cxn>
                  <a:cxn ang="0">
                    <a:pos x="320" y="210"/>
                  </a:cxn>
                  <a:cxn ang="0">
                    <a:pos x="434" y="240"/>
                  </a:cxn>
                  <a:cxn ang="0">
                    <a:pos x="416" y="444"/>
                  </a:cxn>
                  <a:cxn ang="0">
                    <a:pos x="272" y="582"/>
                  </a:cxn>
                  <a:cxn ang="0">
                    <a:pos x="218" y="714"/>
                  </a:cxn>
                  <a:cxn ang="0">
                    <a:pos x="284" y="964"/>
                  </a:cxn>
                  <a:cxn ang="0">
                    <a:pos x="316" y="960"/>
                  </a:cxn>
                  <a:cxn ang="0">
                    <a:pos x="328" y="906"/>
                  </a:cxn>
                  <a:cxn ang="0">
                    <a:pos x="478" y="1154"/>
                  </a:cxn>
                  <a:cxn ang="0">
                    <a:pos x="650" y="1200"/>
                  </a:cxn>
                  <a:cxn ang="0">
                    <a:pos x="794" y="1350"/>
                  </a:cxn>
                  <a:cxn ang="0">
                    <a:pos x="854" y="1422"/>
                  </a:cxn>
                  <a:cxn ang="0">
                    <a:pos x="770" y="1608"/>
                  </a:cxn>
                  <a:cxn ang="0">
                    <a:pos x="916" y="1782"/>
                  </a:cxn>
                  <a:cxn ang="0">
                    <a:pos x="1034" y="2022"/>
                  </a:cxn>
                  <a:cxn ang="0">
                    <a:pos x="1094" y="2310"/>
                  </a:cxn>
                  <a:cxn ang="0">
                    <a:pos x="1194" y="2540"/>
                  </a:cxn>
                  <a:cxn ang="0">
                    <a:pos x="1280" y="2520"/>
                  </a:cxn>
                  <a:cxn ang="0">
                    <a:pos x="1244" y="2394"/>
                  </a:cxn>
                  <a:cxn ang="0">
                    <a:pos x="1288" y="2306"/>
                  </a:cxn>
                  <a:cxn ang="0">
                    <a:pos x="1368" y="2228"/>
                  </a:cxn>
                  <a:cxn ang="0">
                    <a:pos x="1448" y="2076"/>
                  </a:cxn>
                  <a:cxn ang="0">
                    <a:pos x="1568" y="1950"/>
                  </a:cxn>
                  <a:cxn ang="0">
                    <a:pos x="1622" y="1746"/>
                  </a:cxn>
                  <a:cxn ang="0">
                    <a:pos x="1552" y="1538"/>
                  </a:cxn>
                  <a:cxn ang="0">
                    <a:pos x="1376" y="1410"/>
                  </a:cxn>
                  <a:cxn ang="0">
                    <a:pos x="1104" y="1280"/>
                  </a:cxn>
                  <a:cxn ang="0">
                    <a:pos x="974" y="1260"/>
                  </a:cxn>
                  <a:cxn ang="0">
                    <a:pos x="904" y="1268"/>
                  </a:cxn>
                  <a:cxn ang="0">
                    <a:pos x="794" y="1308"/>
                  </a:cxn>
                  <a:cxn ang="0">
                    <a:pos x="758" y="1174"/>
                  </a:cxn>
                  <a:cxn ang="0">
                    <a:pos x="736" y="1062"/>
                  </a:cxn>
                  <a:cxn ang="0">
                    <a:pos x="632" y="1104"/>
                  </a:cxn>
                  <a:cxn ang="0">
                    <a:pos x="568" y="950"/>
                  </a:cxn>
                  <a:cxn ang="0">
                    <a:pos x="740" y="912"/>
                  </a:cxn>
                  <a:cxn ang="0">
                    <a:pos x="842" y="906"/>
                  </a:cxn>
                  <a:cxn ang="0">
                    <a:pos x="896" y="900"/>
                  </a:cxn>
                  <a:cxn ang="0">
                    <a:pos x="1058" y="750"/>
                  </a:cxn>
                  <a:cxn ang="0">
                    <a:pos x="1184" y="678"/>
                  </a:cxn>
                  <a:cxn ang="0">
                    <a:pos x="1278" y="636"/>
                  </a:cxn>
                  <a:cxn ang="0">
                    <a:pos x="1340" y="538"/>
                  </a:cxn>
                  <a:cxn ang="0">
                    <a:pos x="1288" y="512"/>
                  </a:cxn>
                  <a:cxn ang="0">
                    <a:pos x="1526" y="456"/>
                  </a:cxn>
                  <a:cxn ang="0">
                    <a:pos x="1406" y="342"/>
                  </a:cxn>
                  <a:cxn ang="0">
                    <a:pos x="1328" y="264"/>
                  </a:cxn>
                  <a:cxn ang="0">
                    <a:pos x="1222" y="364"/>
                  </a:cxn>
                  <a:cxn ang="0">
                    <a:pos x="1110" y="444"/>
                  </a:cxn>
                  <a:cxn ang="0">
                    <a:pos x="1022" y="304"/>
                  </a:cxn>
                  <a:cxn ang="0">
                    <a:pos x="1212" y="240"/>
                  </a:cxn>
                  <a:cxn ang="0">
                    <a:pos x="1266" y="198"/>
                  </a:cxn>
                  <a:cxn ang="0">
                    <a:pos x="1328" y="172"/>
                  </a:cxn>
                  <a:cxn ang="0">
                    <a:pos x="1286" y="144"/>
                  </a:cxn>
                  <a:cxn ang="0">
                    <a:pos x="1262" y="120"/>
                  </a:cxn>
                  <a:cxn ang="0">
                    <a:pos x="1202" y="102"/>
                  </a:cxn>
                  <a:cxn ang="0">
                    <a:pos x="1106" y="136"/>
                  </a:cxn>
                  <a:cxn ang="0">
                    <a:pos x="950" y="120"/>
                  </a:cxn>
                  <a:cxn ang="0">
                    <a:pos x="550" y="0"/>
                  </a:cxn>
                  <a:cxn ang="0">
                    <a:pos x="344" y="32"/>
                  </a:cxn>
                  <a:cxn ang="0">
                    <a:pos x="290" y="102"/>
                  </a:cxn>
                  <a:cxn ang="0">
                    <a:pos x="128" y="174"/>
                  </a:cxn>
                  <a:cxn ang="0">
                    <a:pos x="128" y="216"/>
                  </a:cxn>
                  <a:cxn ang="0">
                    <a:pos x="2" y="252"/>
                  </a:cxn>
                </a:cxnLst>
                <a:rect l="0" t="0" r="r" b="b"/>
                <a:pathLst>
                  <a:path w="1692" h="2586">
                    <a:moveTo>
                      <a:pt x="2" y="252"/>
                    </a:moveTo>
                    <a:lnTo>
                      <a:pt x="68" y="264"/>
                    </a:lnTo>
                    <a:lnTo>
                      <a:pt x="116" y="258"/>
                    </a:lnTo>
                    <a:lnTo>
                      <a:pt x="188" y="216"/>
                    </a:lnTo>
                    <a:lnTo>
                      <a:pt x="236" y="210"/>
                    </a:lnTo>
                    <a:lnTo>
                      <a:pt x="320" y="210"/>
                    </a:lnTo>
                    <a:lnTo>
                      <a:pt x="368" y="216"/>
                    </a:lnTo>
                    <a:lnTo>
                      <a:pt x="398" y="246"/>
                    </a:lnTo>
                    <a:lnTo>
                      <a:pt x="434" y="240"/>
                    </a:lnTo>
                    <a:lnTo>
                      <a:pt x="422" y="294"/>
                    </a:lnTo>
                    <a:lnTo>
                      <a:pt x="404" y="354"/>
                    </a:lnTo>
                    <a:lnTo>
                      <a:pt x="416" y="444"/>
                    </a:lnTo>
                    <a:lnTo>
                      <a:pt x="408" y="480"/>
                    </a:lnTo>
                    <a:lnTo>
                      <a:pt x="380" y="474"/>
                    </a:lnTo>
                    <a:lnTo>
                      <a:pt x="272" y="582"/>
                    </a:lnTo>
                    <a:lnTo>
                      <a:pt x="236" y="628"/>
                    </a:lnTo>
                    <a:lnTo>
                      <a:pt x="242" y="672"/>
                    </a:lnTo>
                    <a:lnTo>
                      <a:pt x="218" y="714"/>
                    </a:lnTo>
                    <a:lnTo>
                      <a:pt x="268" y="774"/>
                    </a:lnTo>
                    <a:lnTo>
                      <a:pt x="262" y="844"/>
                    </a:lnTo>
                    <a:lnTo>
                      <a:pt x="284" y="964"/>
                    </a:lnTo>
                    <a:lnTo>
                      <a:pt x="320" y="1010"/>
                    </a:lnTo>
                    <a:lnTo>
                      <a:pt x="324" y="970"/>
                    </a:lnTo>
                    <a:lnTo>
                      <a:pt x="316" y="960"/>
                    </a:lnTo>
                    <a:lnTo>
                      <a:pt x="302" y="834"/>
                    </a:lnTo>
                    <a:lnTo>
                      <a:pt x="326" y="830"/>
                    </a:lnTo>
                    <a:lnTo>
                      <a:pt x="328" y="906"/>
                    </a:lnTo>
                    <a:lnTo>
                      <a:pt x="380" y="996"/>
                    </a:lnTo>
                    <a:lnTo>
                      <a:pt x="368" y="1074"/>
                    </a:lnTo>
                    <a:lnTo>
                      <a:pt x="478" y="1154"/>
                    </a:lnTo>
                    <a:lnTo>
                      <a:pt x="564" y="1164"/>
                    </a:lnTo>
                    <a:lnTo>
                      <a:pt x="612" y="1208"/>
                    </a:lnTo>
                    <a:lnTo>
                      <a:pt x="650" y="1200"/>
                    </a:lnTo>
                    <a:lnTo>
                      <a:pt x="680" y="1224"/>
                    </a:lnTo>
                    <a:lnTo>
                      <a:pt x="698" y="1272"/>
                    </a:lnTo>
                    <a:lnTo>
                      <a:pt x="794" y="1350"/>
                    </a:lnTo>
                    <a:lnTo>
                      <a:pt x="842" y="1308"/>
                    </a:lnTo>
                    <a:lnTo>
                      <a:pt x="848" y="1350"/>
                    </a:lnTo>
                    <a:lnTo>
                      <a:pt x="854" y="1422"/>
                    </a:lnTo>
                    <a:lnTo>
                      <a:pt x="786" y="1490"/>
                    </a:lnTo>
                    <a:lnTo>
                      <a:pt x="788" y="1542"/>
                    </a:lnTo>
                    <a:lnTo>
                      <a:pt x="770" y="1608"/>
                    </a:lnTo>
                    <a:lnTo>
                      <a:pt x="802" y="1634"/>
                    </a:lnTo>
                    <a:lnTo>
                      <a:pt x="848" y="1668"/>
                    </a:lnTo>
                    <a:lnTo>
                      <a:pt x="916" y="1782"/>
                    </a:lnTo>
                    <a:lnTo>
                      <a:pt x="956" y="1800"/>
                    </a:lnTo>
                    <a:lnTo>
                      <a:pt x="1010" y="1848"/>
                    </a:lnTo>
                    <a:lnTo>
                      <a:pt x="1034" y="2022"/>
                    </a:lnTo>
                    <a:lnTo>
                      <a:pt x="1058" y="2178"/>
                    </a:lnTo>
                    <a:lnTo>
                      <a:pt x="1046" y="2244"/>
                    </a:lnTo>
                    <a:lnTo>
                      <a:pt x="1094" y="2310"/>
                    </a:lnTo>
                    <a:lnTo>
                      <a:pt x="1118" y="2364"/>
                    </a:lnTo>
                    <a:lnTo>
                      <a:pt x="1138" y="2458"/>
                    </a:lnTo>
                    <a:lnTo>
                      <a:pt x="1194" y="2540"/>
                    </a:lnTo>
                    <a:lnTo>
                      <a:pt x="1286" y="2586"/>
                    </a:lnTo>
                    <a:lnTo>
                      <a:pt x="1382" y="2574"/>
                    </a:lnTo>
                    <a:lnTo>
                      <a:pt x="1280" y="2520"/>
                    </a:lnTo>
                    <a:lnTo>
                      <a:pt x="1266" y="2472"/>
                    </a:lnTo>
                    <a:lnTo>
                      <a:pt x="1288" y="2428"/>
                    </a:lnTo>
                    <a:lnTo>
                      <a:pt x="1244" y="2394"/>
                    </a:lnTo>
                    <a:lnTo>
                      <a:pt x="1284" y="2334"/>
                    </a:lnTo>
                    <a:lnTo>
                      <a:pt x="1244" y="2300"/>
                    </a:lnTo>
                    <a:lnTo>
                      <a:pt x="1288" y="2306"/>
                    </a:lnTo>
                    <a:lnTo>
                      <a:pt x="1286" y="2244"/>
                    </a:lnTo>
                    <a:lnTo>
                      <a:pt x="1330" y="2268"/>
                    </a:lnTo>
                    <a:lnTo>
                      <a:pt x="1368" y="2228"/>
                    </a:lnTo>
                    <a:lnTo>
                      <a:pt x="1334" y="2160"/>
                    </a:lnTo>
                    <a:lnTo>
                      <a:pt x="1382" y="2184"/>
                    </a:lnTo>
                    <a:lnTo>
                      <a:pt x="1448" y="2076"/>
                    </a:lnTo>
                    <a:lnTo>
                      <a:pt x="1468" y="2052"/>
                    </a:lnTo>
                    <a:lnTo>
                      <a:pt x="1476" y="1982"/>
                    </a:lnTo>
                    <a:lnTo>
                      <a:pt x="1568" y="1950"/>
                    </a:lnTo>
                    <a:lnTo>
                      <a:pt x="1612" y="1880"/>
                    </a:lnTo>
                    <a:lnTo>
                      <a:pt x="1628" y="1830"/>
                    </a:lnTo>
                    <a:lnTo>
                      <a:pt x="1622" y="1746"/>
                    </a:lnTo>
                    <a:lnTo>
                      <a:pt x="1692" y="1644"/>
                    </a:lnTo>
                    <a:lnTo>
                      <a:pt x="1652" y="1578"/>
                    </a:lnTo>
                    <a:lnTo>
                      <a:pt x="1552" y="1538"/>
                    </a:lnTo>
                    <a:lnTo>
                      <a:pt x="1448" y="1500"/>
                    </a:lnTo>
                    <a:lnTo>
                      <a:pt x="1376" y="1494"/>
                    </a:lnTo>
                    <a:lnTo>
                      <a:pt x="1376" y="1410"/>
                    </a:lnTo>
                    <a:lnTo>
                      <a:pt x="1262" y="1356"/>
                    </a:lnTo>
                    <a:lnTo>
                      <a:pt x="1166" y="1272"/>
                    </a:lnTo>
                    <a:lnTo>
                      <a:pt x="1104" y="1280"/>
                    </a:lnTo>
                    <a:lnTo>
                      <a:pt x="1048" y="1276"/>
                    </a:lnTo>
                    <a:lnTo>
                      <a:pt x="1020" y="1244"/>
                    </a:lnTo>
                    <a:lnTo>
                      <a:pt x="974" y="1260"/>
                    </a:lnTo>
                    <a:lnTo>
                      <a:pt x="984" y="1238"/>
                    </a:lnTo>
                    <a:lnTo>
                      <a:pt x="934" y="1268"/>
                    </a:lnTo>
                    <a:lnTo>
                      <a:pt x="904" y="1268"/>
                    </a:lnTo>
                    <a:lnTo>
                      <a:pt x="872" y="1314"/>
                    </a:lnTo>
                    <a:lnTo>
                      <a:pt x="836" y="1272"/>
                    </a:lnTo>
                    <a:lnTo>
                      <a:pt x="794" y="1308"/>
                    </a:lnTo>
                    <a:lnTo>
                      <a:pt x="748" y="1278"/>
                    </a:lnTo>
                    <a:lnTo>
                      <a:pt x="758" y="1242"/>
                    </a:lnTo>
                    <a:lnTo>
                      <a:pt x="758" y="1174"/>
                    </a:lnTo>
                    <a:lnTo>
                      <a:pt x="698" y="1176"/>
                    </a:lnTo>
                    <a:lnTo>
                      <a:pt x="668" y="1140"/>
                    </a:lnTo>
                    <a:lnTo>
                      <a:pt x="736" y="1062"/>
                    </a:lnTo>
                    <a:lnTo>
                      <a:pt x="712" y="1050"/>
                    </a:lnTo>
                    <a:lnTo>
                      <a:pt x="658" y="1062"/>
                    </a:lnTo>
                    <a:lnTo>
                      <a:pt x="632" y="1104"/>
                    </a:lnTo>
                    <a:lnTo>
                      <a:pt x="596" y="1110"/>
                    </a:lnTo>
                    <a:lnTo>
                      <a:pt x="538" y="1066"/>
                    </a:lnTo>
                    <a:lnTo>
                      <a:pt x="568" y="950"/>
                    </a:lnTo>
                    <a:lnTo>
                      <a:pt x="632" y="894"/>
                    </a:lnTo>
                    <a:lnTo>
                      <a:pt x="686" y="894"/>
                    </a:lnTo>
                    <a:lnTo>
                      <a:pt x="740" y="912"/>
                    </a:lnTo>
                    <a:lnTo>
                      <a:pt x="736" y="900"/>
                    </a:lnTo>
                    <a:lnTo>
                      <a:pt x="766" y="868"/>
                    </a:lnTo>
                    <a:lnTo>
                      <a:pt x="842" y="906"/>
                    </a:lnTo>
                    <a:lnTo>
                      <a:pt x="848" y="966"/>
                    </a:lnTo>
                    <a:lnTo>
                      <a:pt x="884" y="984"/>
                    </a:lnTo>
                    <a:lnTo>
                      <a:pt x="896" y="900"/>
                    </a:lnTo>
                    <a:lnTo>
                      <a:pt x="878" y="858"/>
                    </a:lnTo>
                    <a:lnTo>
                      <a:pt x="998" y="806"/>
                    </a:lnTo>
                    <a:lnTo>
                      <a:pt x="1058" y="750"/>
                    </a:lnTo>
                    <a:lnTo>
                      <a:pt x="1100" y="696"/>
                    </a:lnTo>
                    <a:lnTo>
                      <a:pt x="1130" y="672"/>
                    </a:lnTo>
                    <a:lnTo>
                      <a:pt x="1184" y="678"/>
                    </a:lnTo>
                    <a:lnTo>
                      <a:pt x="1190" y="636"/>
                    </a:lnTo>
                    <a:lnTo>
                      <a:pt x="1280" y="588"/>
                    </a:lnTo>
                    <a:lnTo>
                      <a:pt x="1278" y="636"/>
                    </a:lnTo>
                    <a:lnTo>
                      <a:pt x="1360" y="602"/>
                    </a:lnTo>
                    <a:lnTo>
                      <a:pt x="1322" y="570"/>
                    </a:lnTo>
                    <a:lnTo>
                      <a:pt x="1340" y="538"/>
                    </a:lnTo>
                    <a:lnTo>
                      <a:pt x="1320" y="522"/>
                    </a:lnTo>
                    <a:lnTo>
                      <a:pt x="1286" y="546"/>
                    </a:lnTo>
                    <a:lnTo>
                      <a:pt x="1288" y="512"/>
                    </a:lnTo>
                    <a:lnTo>
                      <a:pt x="1400" y="504"/>
                    </a:lnTo>
                    <a:lnTo>
                      <a:pt x="1490" y="480"/>
                    </a:lnTo>
                    <a:lnTo>
                      <a:pt x="1526" y="456"/>
                    </a:lnTo>
                    <a:lnTo>
                      <a:pt x="1484" y="394"/>
                    </a:lnTo>
                    <a:cubicBezTo>
                      <a:pt x="1474" y="370"/>
                      <a:pt x="1479" y="319"/>
                      <a:pt x="1466" y="310"/>
                    </a:cubicBezTo>
                    <a:cubicBezTo>
                      <a:pt x="1456" y="300"/>
                      <a:pt x="1423" y="343"/>
                      <a:pt x="1406" y="342"/>
                    </a:cubicBezTo>
                    <a:lnTo>
                      <a:pt x="1376" y="312"/>
                    </a:lnTo>
                    <a:lnTo>
                      <a:pt x="1376" y="270"/>
                    </a:lnTo>
                    <a:lnTo>
                      <a:pt x="1328" y="264"/>
                    </a:lnTo>
                    <a:lnTo>
                      <a:pt x="1312" y="252"/>
                    </a:lnTo>
                    <a:lnTo>
                      <a:pt x="1256" y="314"/>
                    </a:lnTo>
                    <a:lnTo>
                      <a:pt x="1222" y="364"/>
                    </a:lnTo>
                    <a:lnTo>
                      <a:pt x="1172" y="402"/>
                    </a:lnTo>
                    <a:lnTo>
                      <a:pt x="1136" y="474"/>
                    </a:lnTo>
                    <a:lnTo>
                      <a:pt x="1110" y="444"/>
                    </a:lnTo>
                    <a:lnTo>
                      <a:pt x="1128" y="394"/>
                    </a:lnTo>
                    <a:lnTo>
                      <a:pt x="1038" y="334"/>
                    </a:lnTo>
                    <a:lnTo>
                      <a:pt x="1022" y="304"/>
                    </a:lnTo>
                    <a:lnTo>
                      <a:pt x="1122" y="226"/>
                    </a:lnTo>
                    <a:lnTo>
                      <a:pt x="1184" y="222"/>
                    </a:lnTo>
                    <a:lnTo>
                      <a:pt x="1212" y="240"/>
                    </a:lnTo>
                    <a:lnTo>
                      <a:pt x="1248" y="220"/>
                    </a:lnTo>
                    <a:lnTo>
                      <a:pt x="1300" y="220"/>
                    </a:lnTo>
                    <a:lnTo>
                      <a:pt x="1266" y="198"/>
                    </a:lnTo>
                    <a:lnTo>
                      <a:pt x="1208" y="196"/>
                    </a:lnTo>
                    <a:lnTo>
                      <a:pt x="1250" y="174"/>
                    </a:lnTo>
                    <a:lnTo>
                      <a:pt x="1328" y="172"/>
                    </a:lnTo>
                    <a:lnTo>
                      <a:pt x="1364" y="132"/>
                    </a:lnTo>
                    <a:cubicBezTo>
                      <a:pt x="1346" y="124"/>
                      <a:pt x="1343" y="119"/>
                      <a:pt x="1324" y="122"/>
                    </a:cubicBezTo>
                    <a:cubicBezTo>
                      <a:pt x="1310" y="124"/>
                      <a:pt x="1294" y="132"/>
                      <a:pt x="1286" y="144"/>
                    </a:cubicBezTo>
                    <a:cubicBezTo>
                      <a:pt x="1282" y="149"/>
                      <a:pt x="1274" y="148"/>
                      <a:pt x="1268" y="150"/>
                    </a:cubicBezTo>
                    <a:cubicBezTo>
                      <a:pt x="1266" y="144"/>
                      <a:pt x="1259" y="138"/>
                      <a:pt x="1262" y="132"/>
                    </a:cubicBezTo>
                    <a:cubicBezTo>
                      <a:pt x="1269" y="118"/>
                      <a:pt x="1303" y="134"/>
                      <a:pt x="1262" y="120"/>
                    </a:cubicBezTo>
                    <a:cubicBezTo>
                      <a:pt x="1221" y="134"/>
                      <a:pt x="1252" y="105"/>
                      <a:pt x="1262" y="90"/>
                    </a:cubicBezTo>
                    <a:cubicBezTo>
                      <a:pt x="1260" y="84"/>
                      <a:pt x="1262" y="75"/>
                      <a:pt x="1256" y="72"/>
                    </a:cubicBezTo>
                    <a:cubicBezTo>
                      <a:pt x="1238" y="63"/>
                      <a:pt x="1202" y="102"/>
                      <a:pt x="1202" y="102"/>
                    </a:cubicBezTo>
                    <a:cubicBezTo>
                      <a:pt x="1198" y="108"/>
                      <a:pt x="1186" y="140"/>
                      <a:pt x="1180" y="144"/>
                    </a:cubicBezTo>
                    <a:cubicBezTo>
                      <a:pt x="1169" y="151"/>
                      <a:pt x="1148" y="122"/>
                      <a:pt x="1148" y="122"/>
                    </a:cubicBezTo>
                    <a:cubicBezTo>
                      <a:pt x="1138" y="123"/>
                      <a:pt x="1121" y="137"/>
                      <a:pt x="1106" y="136"/>
                    </a:cubicBezTo>
                    <a:cubicBezTo>
                      <a:pt x="1091" y="135"/>
                      <a:pt x="1074" y="117"/>
                      <a:pt x="1056" y="116"/>
                    </a:cubicBezTo>
                    <a:cubicBezTo>
                      <a:pt x="1038" y="115"/>
                      <a:pt x="1016" y="131"/>
                      <a:pt x="998" y="132"/>
                    </a:cubicBezTo>
                    <a:cubicBezTo>
                      <a:pt x="997" y="132"/>
                      <a:pt x="956" y="125"/>
                      <a:pt x="950" y="120"/>
                    </a:cubicBezTo>
                    <a:cubicBezTo>
                      <a:pt x="918" y="94"/>
                      <a:pt x="960" y="108"/>
                      <a:pt x="920" y="90"/>
                    </a:cubicBezTo>
                    <a:cubicBezTo>
                      <a:pt x="852" y="60"/>
                      <a:pt x="806" y="58"/>
                      <a:pt x="730" y="54"/>
                    </a:cubicBezTo>
                    <a:cubicBezTo>
                      <a:pt x="656" y="39"/>
                      <a:pt x="625" y="15"/>
                      <a:pt x="550" y="0"/>
                    </a:cubicBezTo>
                    <a:cubicBezTo>
                      <a:pt x="510" y="2"/>
                      <a:pt x="486" y="5"/>
                      <a:pt x="446" y="8"/>
                    </a:cubicBezTo>
                    <a:cubicBezTo>
                      <a:pt x="424" y="9"/>
                      <a:pt x="423" y="14"/>
                      <a:pt x="406" y="18"/>
                    </a:cubicBezTo>
                    <a:cubicBezTo>
                      <a:pt x="389" y="22"/>
                      <a:pt x="353" y="24"/>
                      <a:pt x="344" y="32"/>
                    </a:cubicBezTo>
                    <a:cubicBezTo>
                      <a:pt x="346" y="38"/>
                      <a:pt x="354" y="60"/>
                      <a:pt x="350" y="64"/>
                    </a:cubicBezTo>
                    <a:cubicBezTo>
                      <a:pt x="274" y="50"/>
                      <a:pt x="250" y="81"/>
                      <a:pt x="236" y="82"/>
                    </a:cubicBezTo>
                    <a:cubicBezTo>
                      <a:pt x="278" y="110"/>
                      <a:pt x="270" y="72"/>
                      <a:pt x="290" y="102"/>
                    </a:cubicBezTo>
                    <a:cubicBezTo>
                      <a:pt x="234" y="121"/>
                      <a:pt x="178" y="104"/>
                      <a:pt x="128" y="138"/>
                    </a:cubicBezTo>
                    <a:cubicBezTo>
                      <a:pt x="126" y="144"/>
                      <a:pt x="122" y="150"/>
                      <a:pt x="122" y="156"/>
                    </a:cubicBezTo>
                    <a:cubicBezTo>
                      <a:pt x="122" y="162"/>
                      <a:pt x="132" y="170"/>
                      <a:pt x="128" y="174"/>
                    </a:cubicBezTo>
                    <a:cubicBezTo>
                      <a:pt x="126" y="182"/>
                      <a:pt x="109" y="197"/>
                      <a:pt x="112" y="202"/>
                    </a:cubicBezTo>
                    <a:cubicBezTo>
                      <a:pt x="124" y="206"/>
                      <a:pt x="137" y="195"/>
                      <a:pt x="146" y="204"/>
                    </a:cubicBezTo>
                    <a:cubicBezTo>
                      <a:pt x="151" y="209"/>
                      <a:pt x="135" y="213"/>
                      <a:pt x="128" y="216"/>
                    </a:cubicBezTo>
                    <a:cubicBezTo>
                      <a:pt x="116" y="221"/>
                      <a:pt x="104" y="226"/>
                      <a:pt x="92" y="228"/>
                    </a:cubicBezTo>
                    <a:cubicBezTo>
                      <a:pt x="48" y="237"/>
                      <a:pt x="72" y="233"/>
                      <a:pt x="20" y="240"/>
                    </a:cubicBezTo>
                    <a:cubicBezTo>
                      <a:pt x="0" y="247"/>
                      <a:pt x="2" y="240"/>
                      <a:pt x="2" y="252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" name="未知"/>
              <p:cNvSpPr>
                <a:spLocks/>
              </p:cNvSpPr>
              <p:nvPr/>
            </p:nvSpPr>
            <p:spPr bwMode="auto">
              <a:xfrm>
                <a:off x="40" y="278"/>
                <a:ext cx="35" cy="28"/>
              </a:xfrm>
              <a:custGeom>
                <a:avLst/>
                <a:gdLst/>
                <a:ahLst/>
                <a:cxnLst>
                  <a:cxn ang="0">
                    <a:pos x="16" y="4"/>
                  </a:cxn>
                  <a:cxn ang="0">
                    <a:pos x="0" y="22"/>
                  </a:cxn>
                  <a:cxn ang="0">
                    <a:pos x="22" y="38"/>
                  </a:cxn>
                  <a:cxn ang="0">
                    <a:pos x="46" y="26"/>
                  </a:cxn>
                  <a:cxn ang="0">
                    <a:pos x="30" y="0"/>
                  </a:cxn>
                  <a:cxn ang="0">
                    <a:pos x="16" y="4"/>
                  </a:cxn>
                </a:cxnLst>
                <a:rect l="0" t="0" r="r" b="b"/>
                <a:pathLst>
                  <a:path w="46" h="38">
                    <a:moveTo>
                      <a:pt x="16" y="4"/>
                    </a:moveTo>
                    <a:lnTo>
                      <a:pt x="0" y="22"/>
                    </a:lnTo>
                    <a:lnTo>
                      <a:pt x="22" y="38"/>
                    </a:lnTo>
                    <a:lnTo>
                      <a:pt x="46" y="26"/>
                    </a:lnTo>
                    <a:lnTo>
                      <a:pt x="30" y="0"/>
                    </a:lnTo>
                    <a:lnTo>
                      <a:pt x="16" y="4"/>
                    </a:ln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" name="未知"/>
              <p:cNvSpPr>
                <a:spLocks/>
              </p:cNvSpPr>
              <p:nvPr/>
            </p:nvSpPr>
            <p:spPr bwMode="auto">
              <a:xfrm>
                <a:off x="355" y="400"/>
                <a:ext cx="40" cy="32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26" y="44"/>
                  </a:cxn>
                  <a:cxn ang="0">
                    <a:pos x="42" y="42"/>
                  </a:cxn>
                  <a:cxn ang="0">
                    <a:pos x="38" y="16"/>
                  </a:cxn>
                  <a:cxn ang="0">
                    <a:pos x="26" y="2"/>
                  </a:cxn>
                  <a:cxn ang="0">
                    <a:pos x="12" y="0"/>
                  </a:cxn>
                </a:cxnLst>
                <a:rect l="0" t="0" r="r" b="b"/>
                <a:pathLst>
                  <a:path w="52" h="44">
                    <a:moveTo>
                      <a:pt x="12" y="0"/>
                    </a:moveTo>
                    <a:cubicBezTo>
                      <a:pt x="16" y="14"/>
                      <a:pt x="18" y="32"/>
                      <a:pt x="26" y="44"/>
                    </a:cubicBezTo>
                    <a:cubicBezTo>
                      <a:pt x="31" y="43"/>
                      <a:pt x="37" y="44"/>
                      <a:pt x="42" y="42"/>
                    </a:cubicBezTo>
                    <a:cubicBezTo>
                      <a:pt x="52" y="38"/>
                      <a:pt x="48" y="19"/>
                      <a:pt x="38" y="16"/>
                    </a:cubicBezTo>
                    <a:cubicBezTo>
                      <a:pt x="33" y="9"/>
                      <a:pt x="34" y="5"/>
                      <a:pt x="26" y="2"/>
                    </a:cubicBezTo>
                    <a:cubicBezTo>
                      <a:pt x="4" y="4"/>
                      <a:pt x="0" y="8"/>
                      <a:pt x="12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" name="未知"/>
              <p:cNvSpPr>
                <a:spLocks/>
              </p:cNvSpPr>
              <p:nvPr/>
            </p:nvSpPr>
            <p:spPr bwMode="auto">
              <a:xfrm>
                <a:off x="1156" y="456"/>
                <a:ext cx="101" cy="74"/>
              </a:xfrm>
              <a:custGeom>
                <a:avLst/>
                <a:gdLst/>
                <a:ahLst/>
                <a:cxnLst>
                  <a:cxn ang="0">
                    <a:pos x="97" y="0"/>
                  </a:cxn>
                  <a:cxn ang="0">
                    <a:pos x="79" y="8"/>
                  </a:cxn>
                  <a:cxn ang="0">
                    <a:pos x="53" y="24"/>
                  </a:cxn>
                  <a:cxn ang="0">
                    <a:pos x="39" y="40"/>
                  </a:cxn>
                  <a:cxn ang="0">
                    <a:pos x="21" y="52"/>
                  </a:cxn>
                  <a:cxn ang="0">
                    <a:pos x="63" y="82"/>
                  </a:cxn>
                  <a:cxn ang="0">
                    <a:pos x="79" y="94"/>
                  </a:cxn>
                  <a:cxn ang="0">
                    <a:pos x="85" y="92"/>
                  </a:cxn>
                  <a:cxn ang="0">
                    <a:pos x="89" y="86"/>
                  </a:cxn>
                  <a:cxn ang="0">
                    <a:pos x="97" y="98"/>
                  </a:cxn>
                  <a:cxn ang="0">
                    <a:pos x="123" y="86"/>
                  </a:cxn>
                  <a:cxn ang="0">
                    <a:pos x="129" y="74"/>
                  </a:cxn>
                  <a:cxn ang="0">
                    <a:pos x="101" y="40"/>
                  </a:cxn>
                  <a:cxn ang="0">
                    <a:pos x="115" y="24"/>
                  </a:cxn>
                  <a:cxn ang="0">
                    <a:pos x="111" y="4"/>
                  </a:cxn>
                  <a:cxn ang="0">
                    <a:pos x="97" y="0"/>
                  </a:cxn>
                </a:cxnLst>
                <a:rect l="0" t="0" r="r" b="b"/>
                <a:pathLst>
                  <a:path w="131" h="98">
                    <a:moveTo>
                      <a:pt x="97" y="0"/>
                    </a:moveTo>
                    <a:cubicBezTo>
                      <a:pt x="83" y="5"/>
                      <a:pt x="89" y="2"/>
                      <a:pt x="79" y="8"/>
                    </a:cubicBezTo>
                    <a:cubicBezTo>
                      <a:pt x="76" y="18"/>
                      <a:pt x="62" y="18"/>
                      <a:pt x="53" y="24"/>
                    </a:cubicBezTo>
                    <a:cubicBezTo>
                      <a:pt x="49" y="29"/>
                      <a:pt x="44" y="36"/>
                      <a:pt x="39" y="40"/>
                    </a:cubicBezTo>
                    <a:cubicBezTo>
                      <a:pt x="34" y="45"/>
                      <a:pt x="21" y="52"/>
                      <a:pt x="21" y="52"/>
                    </a:cubicBezTo>
                    <a:cubicBezTo>
                      <a:pt x="0" y="84"/>
                      <a:pt x="41" y="75"/>
                      <a:pt x="63" y="82"/>
                    </a:cubicBezTo>
                    <a:cubicBezTo>
                      <a:pt x="68" y="89"/>
                      <a:pt x="71" y="91"/>
                      <a:pt x="79" y="94"/>
                    </a:cubicBezTo>
                    <a:cubicBezTo>
                      <a:pt x="81" y="93"/>
                      <a:pt x="83" y="93"/>
                      <a:pt x="85" y="92"/>
                    </a:cubicBezTo>
                    <a:cubicBezTo>
                      <a:pt x="87" y="90"/>
                      <a:pt x="87" y="85"/>
                      <a:pt x="89" y="86"/>
                    </a:cubicBezTo>
                    <a:cubicBezTo>
                      <a:pt x="93" y="88"/>
                      <a:pt x="97" y="98"/>
                      <a:pt x="97" y="98"/>
                    </a:cubicBezTo>
                    <a:cubicBezTo>
                      <a:pt x="112" y="95"/>
                      <a:pt x="111" y="90"/>
                      <a:pt x="123" y="86"/>
                    </a:cubicBezTo>
                    <a:cubicBezTo>
                      <a:pt x="124" y="82"/>
                      <a:pt x="128" y="78"/>
                      <a:pt x="129" y="74"/>
                    </a:cubicBezTo>
                    <a:cubicBezTo>
                      <a:pt x="131" y="61"/>
                      <a:pt x="108" y="47"/>
                      <a:pt x="101" y="40"/>
                    </a:cubicBezTo>
                    <a:cubicBezTo>
                      <a:pt x="103" y="33"/>
                      <a:pt x="115" y="24"/>
                      <a:pt x="115" y="24"/>
                    </a:cubicBezTo>
                    <a:cubicBezTo>
                      <a:pt x="121" y="15"/>
                      <a:pt x="124" y="8"/>
                      <a:pt x="111" y="4"/>
                    </a:cubicBezTo>
                    <a:cubicBezTo>
                      <a:pt x="101" y="7"/>
                      <a:pt x="97" y="13"/>
                      <a:pt x="97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" name="未知"/>
              <p:cNvSpPr>
                <a:spLocks/>
              </p:cNvSpPr>
              <p:nvPr/>
            </p:nvSpPr>
            <p:spPr bwMode="auto">
              <a:xfrm>
                <a:off x="670" y="839"/>
                <a:ext cx="162" cy="84"/>
              </a:xfrm>
              <a:custGeom>
                <a:avLst/>
                <a:gdLst/>
                <a:ahLst/>
                <a:cxnLst>
                  <a:cxn ang="0">
                    <a:pos x="47" y="12"/>
                  </a:cxn>
                  <a:cxn ang="0">
                    <a:pos x="17" y="12"/>
                  </a:cxn>
                  <a:cxn ang="0">
                    <a:pos x="5" y="16"/>
                  </a:cxn>
                  <a:cxn ang="0">
                    <a:pos x="25" y="52"/>
                  </a:cxn>
                  <a:cxn ang="0">
                    <a:pos x="51" y="44"/>
                  </a:cxn>
                  <a:cxn ang="0">
                    <a:pos x="93" y="54"/>
                  </a:cxn>
                  <a:cxn ang="0">
                    <a:pos x="111" y="60"/>
                  </a:cxn>
                  <a:cxn ang="0">
                    <a:pos x="133" y="88"/>
                  </a:cxn>
                  <a:cxn ang="0">
                    <a:pos x="141" y="112"/>
                  </a:cxn>
                  <a:cxn ang="0">
                    <a:pos x="157" y="100"/>
                  </a:cxn>
                  <a:cxn ang="0">
                    <a:pos x="169" y="96"/>
                  </a:cxn>
                  <a:cxn ang="0">
                    <a:pos x="187" y="102"/>
                  </a:cxn>
                  <a:cxn ang="0">
                    <a:pos x="195" y="80"/>
                  </a:cxn>
                  <a:cxn ang="0">
                    <a:pos x="153" y="54"/>
                  </a:cxn>
                  <a:cxn ang="0">
                    <a:pos x="105" y="20"/>
                  </a:cxn>
                  <a:cxn ang="0">
                    <a:pos x="53" y="26"/>
                  </a:cxn>
                  <a:cxn ang="0">
                    <a:pos x="47" y="12"/>
                  </a:cxn>
                </a:cxnLst>
                <a:rect l="0" t="0" r="r" b="b"/>
                <a:pathLst>
                  <a:path w="212" h="112">
                    <a:moveTo>
                      <a:pt x="47" y="12"/>
                    </a:moveTo>
                    <a:cubicBezTo>
                      <a:pt x="39" y="0"/>
                      <a:pt x="28" y="7"/>
                      <a:pt x="17" y="12"/>
                    </a:cubicBezTo>
                    <a:cubicBezTo>
                      <a:pt x="13" y="14"/>
                      <a:pt x="5" y="16"/>
                      <a:pt x="5" y="16"/>
                    </a:cubicBezTo>
                    <a:cubicBezTo>
                      <a:pt x="0" y="31"/>
                      <a:pt x="10" y="48"/>
                      <a:pt x="25" y="52"/>
                    </a:cubicBezTo>
                    <a:cubicBezTo>
                      <a:pt x="37" y="50"/>
                      <a:pt x="41" y="47"/>
                      <a:pt x="51" y="44"/>
                    </a:cubicBezTo>
                    <a:cubicBezTo>
                      <a:pt x="65" y="53"/>
                      <a:pt x="76" y="53"/>
                      <a:pt x="93" y="54"/>
                    </a:cubicBezTo>
                    <a:cubicBezTo>
                      <a:pt x="99" y="56"/>
                      <a:pt x="111" y="60"/>
                      <a:pt x="111" y="60"/>
                    </a:cubicBezTo>
                    <a:cubicBezTo>
                      <a:pt x="120" y="69"/>
                      <a:pt x="129" y="75"/>
                      <a:pt x="133" y="88"/>
                    </a:cubicBezTo>
                    <a:cubicBezTo>
                      <a:pt x="125" y="100"/>
                      <a:pt x="126" y="107"/>
                      <a:pt x="141" y="112"/>
                    </a:cubicBezTo>
                    <a:cubicBezTo>
                      <a:pt x="145" y="106"/>
                      <a:pt x="150" y="103"/>
                      <a:pt x="157" y="100"/>
                    </a:cubicBezTo>
                    <a:cubicBezTo>
                      <a:pt x="161" y="98"/>
                      <a:pt x="169" y="96"/>
                      <a:pt x="169" y="96"/>
                    </a:cubicBezTo>
                    <a:cubicBezTo>
                      <a:pt x="175" y="98"/>
                      <a:pt x="187" y="102"/>
                      <a:pt x="187" y="102"/>
                    </a:cubicBezTo>
                    <a:cubicBezTo>
                      <a:pt x="203" y="100"/>
                      <a:pt x="212" y="94"/>
                      <a:pt x="195" y="80"/>
                    </a:cubicBezTo>
                    <a:cubicBezTo>
                      <a:pt x="183" y="70"/>
                      <a:pt x="165" y="66"/>
                      <a:pt x="153" y="54"/>
                    </a:cubicBezTo>
                    <a:cubicBezTo>
                      <a:pt x="141" y="42"/>
                      <a:pt x="122" y="26"/>
                      <a:pt x="105" y="20"/>
                    </a:cubicBezTo>
                    <a:cubicBezTo>
                      <a:pt x="85" y="21"/>
                      <a:pt x="71" y="20"/>
                      <a:pt x="53" y="26"/>
                    </a:cubicBezTo>
                    <a:cubicBezTo>
                      <a:pt x="47" y="24"/>
                      <a:pt x="33" y="12"/>
                      <a:pt x="47" y="12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3" name="未知"/>
              <p:cNvSpPr>
                <a:spLocks/>
              </p:cNvSpPr>
              <p:nvPr/>
            </p:nvSpPr>
            <p:spPr bwMode="auto">
              <a:xfrm>
                <a:off x="804" y="903"/>
                <a:ext cx="101" cy="40"/>
              </a:xfrm>
              <a:custGeom>
                <a:avLst/>
                <a:gdLst/>
                <a:ahLst/>
                <a:cxnLst>
                  <a:cxn ang="0">
                    <a:pos x="57" y="0"/>
                  </a:cxn>
                  <a:cxn ang="0">
                    <a:pos x="43" y="6"/>
                  </a:cxn>
                  <a:cxn ang="0">
                    <a:pos x="31" y="30"/>
                  </a:cxn>
                  <a:cxn ang="0">
                    <a:pos x="15" y="34"/>
                  </a:cxn>
                  <a:cxn ang="0">
                    <a:pos x="3" y="42"/>
                  </a:cxn>
                  <a:cxn ang="0">
                    <a:pos x="13" y="54"/>
                  </a:cxn>
                  <a:cxn ang="0">
                    <a:pos x="133" y="34"/>
                  </a:cxn>
                  <a:cxn ang="0">
                    <a:pos x="123" y="16"/>
                  </a:cxn>
                  <a:cxn ang="0">
                    <a:pos x="105" y="8"/>
                  </a:cxn>
                  <a:cxn ang="0">
                    <a:pos x="101" y="24"/>
                  </a:cxn>
                  <a:cxn ang="0">
                    <a:pos x="89" y="18"/>
                  </a:cxn>
                  <a:cxn ang="0">
                    <a:pos x="67" y="14"/>
                  </a:cxn>
                  <a:cxn ang="0">
                    <a:pos x="57" y="0"/>
                  </a:cxn>
                </a:cxnLst>
                <a:rect l="0" t="0" r="r" b="b"/>
                <a:pathLst>
                  <a:path w="133" h="54">
                    <a:moveTo>
                      <a:pt x="57" y="0"/>
                    </a:moveTo>
                    <a:cubicBezTo>
                      <a:pt x="53" y="3"/>
                      <a:pt x="46" y="2"/>
                      <a:pt x="43" y="6"/>
                    </a:cubicBezTo>
                    <a:cubicBezTo>
                      <a:pt x="36" y="14"/>
                      <a:pt x="43" y="26"/>
                      <a:pt x="31" y="30"/>
                    </a:cubicBezTo>
                    <a:cubicBezTo>
                      <a:pt x="26" y="32"/>
                      <a:pt x="20" y="31"/>
                      <a:pt x="15" y="34"/>
                    </a:cubicBezTo>
                    <a:cubicBezTo>
                      <a:pt x="11" y="36"/>
                      <a:pt x="3" y="42"/>
                      <a:pt x="3" y="42"/>
                    </a:cubicBezTo>
                    <a:cubicBezTo>
                      <a:pt x="0" y="51"/>
                      <a:pt x="5" y="51"/>
                      <a:pt x="13" y="54"/>
                    </a:cubicBezTo>
                    <a:cubicBezTo>
                      <a:pt x="51" y="51"/>
                      <a:pt x="97" y="46"/>
                      <a:pt x="133" y="34"/>
                    </a:cubicBezTo>
                    <a:cubicBezTo>
                      <a:pt x="129" y="28"/>
                      <a:pt x="128" y="21"/>
                      <a:pt x="123" y="16"/>
                    </a:cubicBezTo>
                    <a:cubicBezTo>
                      <a:pt x="118" y="11"/>
                      <a:pt x="105" y="8"/>
                      <a:pt x="105" y="8"/>
                    </a:cubicBezTo>
                    <a:cubicBezTo>
                      <a:pt x="84" y="13"/>
                      <a:pt x="106" y="19"/>
                      <a:pt x="101" y="24"/>
                    </a:cubicBezTo>
                    <a:cubicBezTo>
                      <a:pt x="99" y="26"/>
                      <a:pt x="89" y="18"/>
                      <a:pt x="89" y="18"/>
                    </a:cubicBezTo>
                    <a:cubicBezTo>
                      <a:pt x="83" y="15"/>
                      <a:pt x="73" y="15"/>
                      <a:pt x="67" y="14"/>
                    </a:cubicBezTo>
                    <a:cubicBezTo>
                      <a:pt x="58" y="8"/>
                      <a:pt x="62" y="12"/>
                      <a:pt x="57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4" name="未知"/>
              <p:cNvSpPr>
                <a:spLocks/>
              </p:cNvSpPr>
              <p:nvPr/>
            </p:nvSpPr>
            <p:spPr bwMode="auto">
              <a:xfrm>
                <a:off x="911" y="928"/>
                <a:ext cx="39" cy="1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7" y="18"/>
                  </a:cxn>
                  <a:cxn ang="0">
                    <a:pos x="27" y="24"/>
                  </a:cxn>
                  <a:cxn ang="0">
                    <a:pos x="33" y="4"/>
                  </a:cxn>
                  <a:cxn ang="0">
                    <a:pos x="13" y="0"/>
                  </a:cxn>
                </a:cxnLst>
                <a:rect l="0" t="0" r="r" b="b"/>
                <a:pathLst>
                  <a:path w="51" h="24">
                    <a:moveTo>
                      <a:pt x="13" y="0"/>
                    </a:moveTo>
                    <a:cubicBezTo>
                      <a:pt x="12" y="2"/>
                      <a:pt x="0" y="12"/>
                      <a:pt x="7" y="18"/>
                    </a:cubicBezTo>
                    <a:cubicBezTo>
                      <a:pt x="12" y="22"/>
                      <a:pt x="27" y="24"/>
                      <a:pt x="27" y="24"/>
                    </a:cubicBezTo>
                    <a:cubicBezTo>
                      <a:pt x="44" y="22"/>
                      <a:pt x="51" y="16"/>
                      <a:pt x="33" y="4"/>
                    </a:cubicBezTo>
                    <a:cubicBezTo>
                      <a:pt x="29" y="1"/>
                      <a:pt x="14" y="0"/>
                      <a:pt x="13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5" name="未知"/>
              <p:cNvSpPr>
                <a:spLocks/>
              </p:cNvSpPr>
              <p:nvPr/>
            </p:nvSpPr>
            <p:spPr bwMode="auto">
              <a:xfrm>
                <a:off x="969" y="931"/>
                <a:ext cx="12" cy="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0" y="14"/>
                  </a:cxn>
                  <a:cxn ang="0">
                    <a:pos x="16" y="34"/>
                  </a:cxn>
                  <a:cxn ang="0">
                    <a:pos x="12" y="18"/>
                  </a:cxn>
                  <a:cxn ang="0">
                    <a:pos x="16" y="6"/>
                  </a:cxn>
                  <a:cxn ang="0">
                    <a:pos x="14" y="0"/>
                  </a:cxn>
                </a:cxnLst>
                <a:rect l="0" t="0" r="r" b="b"/>
                <a:pathLst>
                  <a:path w="16" h="34">
                    <a:moveTo>
                      <a:pt x="14" y="0"/>
                    </a:moveTo>
                    <a:cubicBezTo>
                      <a:pt x="5" y="3"/>
                      <a:pt x="2" y="4"/>
                      <a:pt x="0" y="14"/>
                    </a:cubicBezTo>
                    <a:cubicBezTo>
                      <a:pt x="3" y="26"/>
                      <a:pt x="4" y="30"/>
                      <a:pt x="16" y="34"/>
                    </a:cubicBezTo>
                    <a:cubicBezTo>
                      <a:pt x="15" y="29"/>
                      <a:pt x="11" y="23"/>
                      <a:pt x="12" y="18"/>
                    </a:cubicBezTo>
                    <a:cubicBezTo>
                      <a:pt x="12" y="14"/>
                      <a:pt x="16" y="6"/>
                      <a:pt x="16" y="6"/>
                    </a:cubicBezTo>
                    <a:cubicBezTo>
                      <a:pt x="9" y="1"/>
                      <a:pt x="8" y="3"/>
                      <a:pt x="14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" name="未知"/>
              <p:cNvSpPr>
                <a:spLocks/>
              </p:cNvSpPr>
              <p:nvPr/>
            </p:nvSpPr>
            <p:spPr bwMode="auto">
              <a:xfrm>
                <a:off x="781" y="89"/>
                <a:ext cx="185" cy="87"/>
              </a:xfrm>
              <a:custGeom>
                <a:avLst/>
                <a:gdLst/>
                <a:ahLst/>
                <a:cxnLst>
                  <a:cxn ang="0">
                    <a:pos x="64" y="1"/>
                  </a:cxn>
                  <a:cxn ang="0">
                    <a:pos x="24" y="31"/>
                  </a:cxn>
                  <a:cxn ang="0">
                    <a:pos x="6" y="37"/>
                  </a:cxn>
                  <a:cxn ang="0">
                    <a:pos x="0" y="39"/>
                  </a:cxn>
                  <a:cxn ang="0">
                    <a:pos x="26" y="59"/>
                  </a:cxn>
                  <a:cxn ang="0">
                    <a:pos x="38" y="63"/>
                  </a:cxn>
                  <a:cxn ang="0">
                    <a:pos x="68" y="47"/>
                  </a:cxn>
                  <a:cxn ang="0">
                    <a:pos x="80" y="43"/>
                  </a:cxn>
                  <a:cxn ang="0">
                    <a:pos x="82" y="55"/>
                  </a:cxn>
                  <a:cxn ang="0">
                    <a:pos x="64" y="61"/>
                  </a:cxn>
                  <a:cxn ang="0">
                    <a:pos x="72" y="73"/>
                  </a:cxn>
                  <a:cxn ang="0">
                    <a:pos x="40" y="87"/>
                  </a:cxn>
                  <a:cxn ang="0">
                    <a:pos x="70" y="109"/>
                  </a:cxn>
                  <a:cxn ang="0">
                    <a:pos x="82" y="113"/>
                  </a:cxn>
                  <a:cxn ang="0">
                    <a:pos x="118" y="103"/>
                  </a:cxn>
                  <a:cxn ang="0">
                    <a:pos x="150" y="105"/>
                  </a:cxn>
                  <a:cxn ang="0">
                    <a:pos x="168" y="117"/>
                  </a:cxn>
                  <a:cxn ang="0">
                    <a:pos x="204" y="109"/>
                  </a:cxn>
                  <a:cxn ang="0">
                    <a:pos x="224" y="103"/>
                  </a:cxn>
                  <a:cxn ang="0">
                    <a:pos x="222" y="77"/>
                  </a:cxn>
                  <a:cxn ang="0">
                    <a:pos x="234" y="69"/>
                  </a:cxn>
                  <a:cxn ang="0">
                    <a:pos x="238" y="47"/>
                  </a:cxn>
                  <a:cxn ang="0">
                    <a:pos x="210" y="57"/>
                  </a:cxn>
                  <a:cxn ang="0">
                    <a:pos x="200" y="43"/>
                  </a:cxn>
                  <a:cxn ang="0">
                    <a:pos x="172" y="45"/>
                  </a:cxn>
                  <a:cxn ang="0">
                    <a:pos x="134" y="9"/>
                  </a:cxn>
                  <a:cxn ang="0">
                    <a:pos x="94" y="11"/>
                  </a:cxn>
                  <a:cxn ang="0">
                    <a:pos x="82" y="1"/>
                  </a:cxn>
                  <a:cxn ang="0">
                    <a:pos x="64" y="1"/>
                  </a:cxn>
                </a:cxnLst>
                <a:rect l="0" t="0" r="r" b="b"/>
                <a:pathLst>
                  <a:path w="240" h="117">
                    <a:moveTo>
                      <a:pt x="64" y="1"/>
                    </a:moveTo>
                    <a:cubicBezTo>
                      <a:pt x="57" y="21"/>
                      <a:pt x="44" y="24"/>
                      <a:pt x="24" y="31"/>
                    </a:cubicBezTo>
                    <a:cubicBezTo>
                      <a:pt x="18" y="33"/>
                      <a:pt x="12" y="35"/>
                      <a:pt x="6" y="37"/>
                    </a:cubicBezTo>
                    <a:cubicBezTo>
                      <a:pt x="4" y="38"/>
                      <a:pt x="0" y="39"/>
                      <a:pt x="0" y="39"/>
                    </a:cubicBezTo>
                    <a:cubicBezTo>
                      <a:pt x="3" y="55"/>
                      <a:pt x="12" y="54"/>
                      <a:pt x="26" y="59"/>
                    </a:cubicBezTo>
                    <a:cubicBezTo>
                      <a:pt x="30" y="60"/>
                      <a:pt x="38" y="63"/>
                      <a:pt x="38" y="63"/>
                    </a:cubicBezTo>
                    <a:cubicBezTo>
                      <a:pt x="50" y="59"/>
                      <a:pt x="57" y="54"/>
                      <a:pt x="68" y="47"/>
                    </a:cubicBezTo>
                    <a:cubicBezTo>
                      <a:pt x="72" y="45"/>
                      <a:pt x="80" y="43"/>
                      <a:pt x="80" y="43"/>
                    </a:cubicBezTo>
                    <a:cubicBezTo>
                      <a:pt x="82" y="46"/>
                      <a:pt x="88" y="51"/>
                      <a:pt x="82" y="55"/>
                    </a:cubicBezTo>
                    <a:cubicBezTo>
                      <a:pt x="77" y="59"/>
                      <a:pt x="64" y="61"/>
                      <a:pt x="64" y="61"/>
                    </a:cubicBezTo>
                    <a:cubicBezTo>
                      <a:pt x="58" y="70"/>
                      <a:pt x="63" y="70"/>
                      <a:pt x="72" y="73"/>
                    </a:cubicBezTo>
                    <a:cubicBezTo>
                      <a:pt x="77" y="88"/>
                      <a:pt x="50" y="86"/>
                      <a:pt x="40" y="87"/>
                    </a:cubicBezTo>
                    <a:cubicBezTo>
                      <a:pt x="47" y="94"/>
                      <a:pt x="60" y="106"/>
                      <a:pt x="70" y="109"/>
                    </a:cubicBezTo>
                    <a:cubicBezTo>
                      <a:pt x="74" y="110"/>
                      <a:pt x="82" y="113"/>
                      <a:pt x="82" y="113"/>
                    </a:cubicBezTo>
                    <a:cubicBezTo>
                      <a:pt x="99" y="111"/>
                      <a:pt x="104" y="108"/>
                      <a:pt x="118" y="103"/>
                    </a:cubicBezTo>
                    <a:cubicBezTo>
                      <a:pt x="129" y="104"/>
                      <a:pt x="140" y="103"/>
                      <a:pt x="150" y="105"/>
                    </a:cubicBezTo>
                    <a:cubicBezTo>
                      <a:pt x="157" y="107"/>
                      <a:pt x="168" y="117"/>
                      <a:pt x="168" y="117"/>
                    </a:cubicBezTo>
                    <a:cubicBezTo>
                      <a:pt x="193" y="115"/>
                      <a:pt x="188" y="116"/>
                      <a:pt x="204" y="109"/>
                    </a:cubicBezTo>
                    <a:cubicBezTo>
                      <a:pt x="210" y="106"/>
                      <a:pt x="224" y="103"/>
                      <a:pt x="224" y="103"/>
                    </a:cubicBezTo>
                    <a:cubicBezTo>
                      <a:pt x="223" y="98"/>
                      <a:pt x="217" y="82"/>
                      <a:pt x="222" y="77"/>
                    </a:cubicBezTo>
                    <a:cubicBezTo>
                      <a:pt x="225" y="73"/>
                      <a:pt x="234" y="69"/>
                      <a:pt x="234" y="69"/>
                    </a:cubicBezTo>
                    <a:cubicBezTo>
                      <a:pt x="237" y="59"/>
                      <a:pt x="240" y="59"/>
                      <a:pt x="238" y="47"/>
                    </a:cubicBezTo>
                    <a:cubicBezTo>
                      <a:pt x="228" y="49"/>
                      <a:pt x="219" y="51"/>
                      <a:pt x="210" y="57"/>
                    </a:cubicBezTo>
                    <a:cubicBezTo>
                      <a:pt x="201" y="71"/>
                      <a:pt x="201" y="50"/>
                      <a:pt x="200" y="43"/>
                    </a:cubicBezTo>
                    <a:cubicBezTo>
                      <a:pt x="189" y="45"/>
                      <a:pt x="182" y="48"/>
                      <a:pt x="172" y="45"/>
                    </a:cubicBezTo>
                    <a:cubicBezTo>
                      <a:pt x="161" y="34"/>
                      <a:pt x="148" y="14"/>
                      <a:pt x="134" y="9"/>
                    </a:cubicBezTo>
                    <a:cubicBezTo>
                      <a:pt x="119" y="11"/>
                      <a:pt x="108" y="13"/>
                      <a:pt x="94" y="11"/>
                    </a:cubicBezTo>
                    <a:cubicBezTo>
                      <a:pt x="92" y="9"/>
                      <a:pt x="85" y="2"/>
                      <a:pt x="82" y="1"/>
                    </a:cubicBezTo>
                    <a:cubicBezTo>
                      <a:pt x="74" y="0"/>
                      <a:pt x="72" y="9"/>
                      <a:pt x="64" y="1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" name="未知"/>
              <p:cNvSpPr>
                <a:spLocks/>
              </p:cNvSpPr>
              <p:nvPr/>
            </p:nvSpPr>
            <p:spPr bwMode="auto">
              <a:xfrm>
                <a:off x="863" y="48"/>
                <a:ext cx="150" cy="60"/>
              </a:xfrm>
              <a:custGeom>
                <a:avLst/>
                <a:gdLst/>
                <a:ahLst/>
                <a:cxnLst>
                  <a:cxn ang="0">
                    <a:pos x="97" y="10"/>
                  </a:cxn>
                  <a:cxn ang="0">
                    <a:pos x="13" y="24"/>
                  </a:cxn>
                  <a:cxn ang="0">
                    <a:pos x="9" y="34"/>
                  </a:cxn>
                  <a:cxn ang="0">
                    <a:pos x="57" y="52"/>
                  </a:cxn>
                  <a:cxn ang="0">
                    <a:pos x="135" y="74"/>
                  </a:cxn>
                  <a:cxn ang="0">
                    <a:pos x="175" y="68"/>
                  </a:cxn>
                  <a:cxn ang="0">
                    <a:pos x="187" y="64"/>
                  </a:cxn>
                  <a:cxn ang="0">
                    <a:pos x="175" y="44"/>
                  </a:cxn>
                  <a:cxn ang="0">
                    <a:pos x="163" y="36"/>
                  </a:cxn>
                  <a:cxn ang="0">
                    <a:pos x="129" y="26"/>
                  </a:cxn>
                  <a:cxn ang="0">
                    <a:pos x="97" y="10"/>
                  </a:cxn>
                </a:cxnLst>
                <a:rect l="0" t="0" r="r" b="b"/>
                <a:pathLst>
                  <a:path w="194" h="80">
                    <a:moveTo>
                      <a:pt x="97" y="10"/>
                    </a:moveTo>
                    <a:cubicBezTo>
                      <a:pt x="70" y="19"/>
                      <a:pt x="42" y="22"/>
                      <a:pt x="13" y="24"/>
                    </a:cubicBezTo>
                    <a:cubicBezTo>
                      <a:pt x="9" y="25"/>
                      <a:pt x="0" y="26"/>
                      <a:pt x="9" y="34"/>
                    </a:cubicBezTo>
                    <a:cubicBezTo>
                      <a:pt x="21" y="44"/>
                      <a:pt x="43" y="43"/>
                      <a:pt x="57" y="52"/>
                    </a:cubicBezTo>
                    <a:cubicBezTo>
                      <a:pt x="75" y="80"/>
                      <a:pt x="104" y="73"/>
                      <a:pt x="135" y="74"/>
                    </a:cubicBezTo>
                    <a:cubicBezTo>
                      <a:pt x="153" y="73"/>
                      <a:pt x="159" y="73"/>
                      <a:pt x="175" y="68"/>
                    </a:cubicBezTo>
                    <a:cubicBezTo>
                      <a:pt x="179" y="67"/>
                      <a:pt x="187" y="64"/>
                      <a:pt x="187" y="64"/>
                    </a:cubicBezTo>
                    <a:cubicBezTo>
                      <a:pt x="194" y="53"/>
                      <a:pt x="184" y="49"/>
                      <a:pt x="175" y="44"/>
                    </a:cubicBezTo>
                    <a:cubicBezTo>
                      <a:pt x="171" y="42"/>
                      <a:pt x="163" y="36"/>
                      <a:pt x="163" y="36"/>
                    </a:cubicBezTo>
                    <a:cubicBezTo>
                      <a:pt x="140" y="41"/>
                      <a:pt x="147" y="38"/>
                      <a:pt x="129" y="26"/>
                    </a:cubicBezTo>
                    <a:cubicBezTo>
                      <a:pt x="123" y="17"/>
                      <a:pt x="107" y="0"/>
                      <a:pt x="97" y="1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8" name="未知"/>
              <p:cNvSpPr>
                <a:spLocks/>
              </p:cNvSpPr>
              <p:nvPr/>
            </p:nvSpPr>
            <p:spPr bwMode="auto">
              <a:xfrm>
                <a:off x="1073" y="118"/>
                <a:ext cx="239" cy="189"/>
              </a:xfrm>
              <a:custGeom>
                <a:avLst/>
                <a:gdLst/>
                <a:ahLst/>
                <a:cxnLst>
                  <a:cxn ang="0">
                    <a:pos x="67" y="9"/>
                  </a:cxn>
                  <a:cxn ang="0">
                    <a:pos x="51" y="23"/>
                  </a:cxn>
                  <a:cxn ang="0">
                    <a:pos x="21" y="39"/>
                  </a:cxn>
                  <a:cxn ang="0">
                    <a:pos x="53" y="77"/>
                  </a:cxn>
                  <a:cxn ang="0">
                    <a:pos x="79" y="85"/>
                  </a:cxn>
                  <a:cxn ang="0">
                    <a:pos x="103" y="99"/>
                  </a:cxn>
                  <a:cxn ang="0">
                    <a:pos x="127" y="85"/>
                  </a:cxn>
                  <a:cxn ang="0">
                    <a:pos x="143" y="101"/>
                  </a:cxn>
                  <a:cxn ang="0">
                    <a:pos x="149" y="127"/>
                  </a:cxn>
                  <a:cxn ang="0">
                    <a:pos x="115" y="151"/>
                  </a:cxn>
                  <a:cxn ang="0">
                    <a:pos x="89" y="173"/>
                  </a:cxn>
                  <a:cxn ang="0">
                    <a:pos x="69" y="169"/>
                  </a:cxn>
                  <a:cxn ang="0">
                    <a:pos x="57" y="165"/>
                  </a:cxn>
                  <a:cxn ang="0">
                    <a:pos x="43" y="187"/>
                  </a:cxn>
                  <a:cxn ang="0">
                    <a:pos x="39" y="199"/>
                  </a:cxn>
                  <a:cxn ang="0">
                    <a:pos x="73" y="205"/>
                  </a:cxn>
                  <a:cxn ang="0">
                    <a:pos x="95" y="203"/>
                  </a:cxn>
                  <a:cxn ang="0">
                    <a:pos x="115" y="231"/>
                  </a:cxn>
                  <a:cxn ang="0">
                    <a:pos x="127" y="235"/>
                  </a:cxn>
                  <a:cxn ang="0">
                    <a:pos x="139" y="239"/>
                  </a:cxn>
                  <a:cxn ang="0">
                    <a:pos x="155" y="251"/>
                  </a:cxn>
                  <a:cxn ang="0">
                    <a:pos x="181" y="237"/>
                  </a:cxn>
                  <a:cxn ang="0">
                    <a:pos x="203" y="235"/>
                  </a:cxn>
                  <a:cxn ang="0">
                    <a:pos x="229" y="213"/>
                  </a:cxn>
                  <a:cxn ang="0">
                    <a:pos x="225" y="185"/>
                  </a:cxn>
                  <a:cxn ang="0">
                    <a:pos x="217" y="173"/>
                  </a:cxn>
                  <a:cxn ang="0">
                    <a:pos x="233" y="167"/>
                  </a:cxn>
                  <a:cxn ang="0">
                    <a:pos x="245" y="183"/>
                  </a:cxn>
                  <a:cxn ang="0">
                    <a:pos x="247" y="197"/>
                  </a:cxn>
                  <a:cxn ang="0">
                    <a:pos x="261" y="193"/>
                  </a:cxn>
                  <a:cxn ang="0">
                    <a:pos x="303" y="169"/>
                  </a:cxn>
                  <a:cxn ang="0">
                    <a:pos x="293" y="147"/>
                  </a:cxn>
                  <a:cxn ang="0">
                    <a:pos x="259" y="123"/>
                  </a:cxn>
                  <a:cxn ang="0">
                    <a:pos x="265" y="107"/>
                  </a:cxn>
                  <a:cxn ang="0">
                    <a:pos x="277" y="103"/>
                  </a:cxn>
                  <a:cxn ang="0">
                    <a:pos x="253" y="63"/>
                  </a:cxn>
                  <a:cxn ang="0">
                    <a:pos x="233" y="59"/>
                  </a:cxn>
                  <a:cxn ang="0">
                    <a:pos x="221" y="55"/>
                  </a:cxn>
                  <a:cxn ang="0">
                    <a:pos x="201" y="33"/>
                  </a:cxn>
                  <a:cxn ang="0">
                    <a:pos x="155" y="45"/>
                  </a:cxn>
                  <a:cxn ang="0">
                    <a:pos x="167" y="25"/>
                  </a:cxn>
                  <a:cxn ang="0">
                    <a:pos x="139" y="17"/>
                  </a:cxn>
                  <a:cxn ang="0">
                    <a:pos x="119" y="19"/>
                  </a:cxn>
                  <a:cxn ang="0">
                    <a:pos x="67" y="9"/>
                  </a:cxn>
                </a:cxnLst>
                <a:rect l="0" t="0" r="r" b="b"/>
                <a:pathLst>
                  <a:path w="310" h="254">
                    <a:moveTo>
                      <a:pt x="67" y="9"/>
                    </a:moveTo>
                    <a:cubicBezTo>
                      <a:pt x="63" y="15"/>
                      <a:pt x="51" y="23"/>
                      <a:pt x="51" y="23"/>
                    </a:cubicBezTo>
                    <a:cubicBezTo>
                      <a:pt x="43" y="34"/>
                      <a:pt x="33" y="35"/>
                      <a:pt x="21" y="39"/>
                    </a:cubicBezTo>
                    <a:cubicBezTo>
                      <a:pt x="0" y="71"/>
                      <a:pt x="30" y="74"/>
                      <a:pt x="53" y="77"/>
                    </a:cubicBezTo>
                    <a:cubicBezTo>
                      <a:pt x="61" y="89"/>
                      <a:pt x="63" y="87"/>
                      <a:pt x="79" y="85"/>
                    </a:cubicBezTo>
                    <a:cubicBezTo>
                      <a:pt x="88" y="88"/>
                      <a:pt x="93" y="96"/>
                      <a:pt x="103" y="99"/>
                    </a:cubicBezTo>
                    <a:cubicBezTo>
                      <a:pt x="117" y="96"/>
                      <a:pt x="116" y="89"/>
                      <a:pt x="127" y="85"/>
                    </a:cubicBezTo>
                    <a:cubicBezTo>
                      <a:pt x="134" y="90"/>
                      <a:pt x="138" y="94"/>
                      <a:pt x="143" y="101"/>
                    </a:cubicBezTo>
                    <a:cubicBezTo>
                      <a:pt x="140" y="116"/>
                      <a:pt x="134" y="117"/>
                      <a:pt x="149" y="127"/>
                    </a:cubicBezTo>
                    <a:cubicBezTo>
                      <a:pt x="161" y="144"/>
                      <a:pt x="126" y="147"/>
                      <a:pt x="115" y="151"/>
                    </a:cubicBezTo>
                    <a:cubicBezTo>
                      <a:pt x="109" y="160"/>
                      <a:pt x="100" y="169"/>
                      <a:pt x="89" y="173"/>
                    </a:cubicBezTo>
                    <a:cubicBezTo>
                      <a:pt x="81" y="172"/>
                      <a:pt x="76" y="171"/>
                      <a:pt x="69" y="169"/>
                    </a:cubicBezTo>
                    <a:cubicBezTo>
                      <a:pt x="65" y="168"/>
                      <a:pt x="57" y="165"/>
                      <a:pt x="57" y="165"/>
                    </a:cubicBezTo>
                    <a:cubicBezTo>
                      <a:pt x="46" y="169"/>
                      <a:pt x="46" y="177"/>
                      <a:pt x="43" y="187"/>
                    </a:cubicBezTo>
                    <a:cubicBezTo>
                      <a:pt x="42" y="191"/>
                      <a:pt x="39" y="199"/>
                      <a:pt x="39" y="199"/>
                    </a:cubicBezTo>
                    <a:cubicBezTo>
                      <a:pt x="50" y="203"/>
                      <a:pt x="61" y="204"/>
                      <a:pt x="73" y="205"/>
                    </a:cubicBezTo>
                    <a:cubicBezTo>
                      <a:pt x="82" y="203"/>
                      <a:pt x="86" y="201"/>
                      <a:pt x="95" y="203"/>
                    </a:cubicBezTo>
                    <a:cubicBezTo>
                      <a:pt x="107" y="211"/>
                      <a:pt x="111" y="218"/>
                      <a:pt x="115" y="231"/>
                    </a:cubicBezTo>
                    <a:cubicBezTo>
                      <a:pt x="116" y="235"/>
                      <a:pt x="123" y="234"/>
                      <a:pt x="127" y="235"/>
                    </a:cubicBezTo>
                    <a:cubicBezTo>
                      <a:pt x="131" y="236"/>
                      <a:pt x="139" y="239"/>
                      <a:pt x="139" y="239"/>
                    </a:cubicBezTo>
                    <a:cubicBezTo>
                      <a:pt x="144" y="246"/>
                      <a:pt x="147" y="248"/>
                      <a:pt x="155" y="251"/>
                    </a:cubicBezTo>
                    <a:cubicBezTo>
                      <a:pt x="169" y="250"/>
                      <a:pt x="187" y="254"/>
                      <a:pt x="181" y="237"/>
                    </a:cubicBezTo>
                    <a:cubicBezTo>
                      <a:pt x="184" y="220"/>
                      <a:pt x="192" y="228"/>
                      <a:pt x="203" y="235"/>
                    </a:cubicBezTo>
                    <a:cubicBezTo>
                      <a:pt x="224" y="233"/>
                      <a:pt x="224" y="232"/>
                      <a:pt x="229" y="213"/>
                    </a:cubicBezTo>
                    <a:cubicBezTo>
                      <a:pt x="229" y="211"/>
                      <a:pt x="229" y="192"/>
                      <a:pt x="225" y="185"/>
                    </a:cubicBezTo>
                    <a:cubicBezTo>
                      <a:pt x="223" y="181"/>
                      <a:pt x="217" y="173"/>
                      <a:pt x="217" y="173"/>
                    </a:cubicBezTo>
                    <a:cubicBezTo>
                      <a:pt x="220" y="163"/>
                      <a:pt x="224" y="165"/>
                      <a:pt x="233" y="167"/>
                    </a:cubicBezTo>
                    <a:cubicBezTo>
                      <a:pt x="240" y="172"/>
                      <a:pt x="242" y="175"/>
                      <a:pt x="245" y="183"/>
                    </a:cubicBezTo>
                    <a:cubicBezTo>
                      <a:pt x="246" y="188"/>
                      <a:pt x="244" y="193"/>
                      <a:pt x="247" y="197"/>
                    </a:cubicBezTo>
                    <a:cubicBezTo>
                      <a:pt x="250" y="201"/>
                      <a:pt x="256" y="194"/>
                      <a:pt x="261" y="193"/>
                    </a:cubicBezTo>
                    <a:cubicBezTo>
                      <a:pt x="276" y="188"/>
                      <a:pt x="290" y="178"/>
                      <a:pt x="303" y="169"/>
                    </a:cubicBezTo>
                    <a:cubicBezTo>
                      <a:pt x="310" y="158"/>
                      <a:pt x="302" y="153"/>
                      <a:pt x="293" y="147"/>
                    </a:cubicBezTo>
                    <a:cubicBezTo>
                      <a:pt x="281" y="129"/>
                      <a:pt x="283" y="126"/>
                      <a:pt x="259" y="123"/>
                    </a:cubicBezTo>
                    <a:cubicBezTo>
                      <a:pt x="256" y="115"/>
                      <a:pt x="257" y="111"/>
                      <a:pt x="265" y="107"/>
                    </a:cubicBezTo>
                    <a:cubicBezTo>
                      <a:pt x="269" y="105"/>
                      <a:pt x="277" y="103"/>
                      <a:pt x="277" y="103"/>
                    </a:cubicBezTo>
                    <a:cubicBezTo>
                      <a:pt x="287" y="88"/>
                      <a:pt x="269" y="66"/>
                      <a:pt x="253" y="63"/>
                    </a:cubicBezTo>
                    <a:cubicBezTo>
                      <a:pt x="239" y="60"/>
                      <a:pt x="244" y="62"/>
                      <a:pt x="233" y="59"/>
                    </a:cubicBezTo>
                    <a:cubicBezTo>
                      <a:pt x="229" y="58"/>
                      <a:pt x="221" y="55"/>
                      <a:pt x="221" y="55"/>
                    </a:cubicBezTo>
                    <a:cubicBezTo>
                      <a:pt x="200" y="60"/>
                      <a:pt x="217" y="38"/>
                      <a:pt x="201" y="33"/>
                    </a:cubicBezTo>
                    <a:cubicBezTo>
                      <a:pt x="185" y="35"/>
                      <a:pt x="169" y="36"/>
                      <a:pt x="155" y="45"/>
                    </a:cubicBezTo>
                    <a:cubicBezTo>
                      <a:pt x="145" y="30"/>
                      <a:pt x="152" y="30"/>
                      <a:pt x="167" y="25"/>
                    </a:cubicBezTo>
                    <a:cubicBezTo>
                      <a:pt x="163" y="10"/>
                      <a:pt x="155" y="15"/>
                      <a:pt x="139" y="17"/>
                    </a:cubicBezTo>
                    <a:cubicBezTo>
                      <a:pt x="131" y="20"/>
                      <a:pt x="127" y="22"/>
                      <a:pt x="119" y="19"/>
                    </a:cubicBezTo>
                    <a:cubicBezTo>
                      <a:pt x="106" y="0"/>
                      <a:pt x="74" y="29"/>
                      <a:pt x="67" y="9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" name="未知"/>
              <p:cNvSpPr>
                <a:spLocks/>
              </p:cNvSpPr>
              <p:nvPr/>
            </p:nvSpPr>
            <p:spPr bwMode="auto">
              <a:xfrm>
                <a:off x="1071" y="36"/>
                <a:ext cx="45" cy="37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0" y="10"/>
                  </a:cxn>
                  <a:cxn ang="0">
                    <a:pos x="30" y="40"/>
                  </a:cxn>
                  <a:cxn ang="0">
                    <a:pos x="48" y="50"/>
                  </a:cxn>
                  <a:cxn ang="0">
                    <a:pos x="58" y="28"/>
                  </a:cxn>
                  <a:cxn ang="0">
                    <a:pos x="44" y="8"/>
                  </a:cxn>
                  <a:cxn ang="0">
                    <a:pos x="26" y="0"/>
                  </a:cxn>
                </a:cxnLst>
                <a:rect l="0" t="0" r="r" b="b"/>
                <a:pathLst>
                  <a:path w="59" h="50">
                    <a:moveTo>
                      <a:pt x="26" y="0"/>
                    </a:moveTo>
                    <a:cubicBezTo>
                      <a:pt x="13" y="2"/>
                      <a:pt x="7" y="0"/>
                      <a:pt x="0" y="10"/>
                    </a:cubicBezTo>
                    <a:cubicBezTo>
                      <a:pt x="4" y="22"/>
                      <a:pt x="18" y="36"/>
                      <a:pt x="30" y="40"/>
                    </a:cubicBezTo>
                    <a:cubicBezTo>
                      <a:pt x="37" y="42"/>
                      <a:pt x="48" y="50"/>
                      <a:pt x="48" y="50"/>
                    </a:cubicBezTo>
                    <a:cubicBezTo>
                      <a:pt x="57" y="44"/>
                      <a:pt x="55" y="37"/>
                      <a:pt x="58" y="28"/>
                    </a:cubicBezTo>
                    <a:cubicBezTo>
                      <a:pt x="55" y="11"/>
                      <a:pt x="59" y="18"/>
                      <a:pt x="44" y="8"/>
                    </a:cubicBezTo>
                    <a:cubicBezTo>
                      <a:pt x="42" y="6"/>
                      <a:pt x="26" y="5"/>
                      <a:pt x="26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0" name="未知"/>
              <p:cNvSpPr>
                <a:spLocks/>
              </p:cNvSpPr>
              <p:nvPr/>
            </p:nvSpPr>
            <p:spPr bwMode="auto">
              <a:xfrm>
                <a:off x="985" y="106"/>
                <a:ext cx="67" cy="41"/>
              </a:xfrm>
              <a:custGeom>
                <a:avLst/>
                <a:gdLst/>
                <a:ahLst/>
                <a:cxnLst>
                  <a:cxn ang="0">
                    <a:pos x="44" y="7"/>
                  </a:cxn>
                  <a:cxn ang="0">
                    <a:pos x="24" y="25"/>
                  </a:cxn>
                  <a:cxn ang="0">
                    <a:pos x="4" y="27"/>
                  </a:cxn>
                  <a:cxn ang="0">
                    <a:pos x="16" y="57"/>
                  </a:cxn>
                  <a:cxn ang="0">
                    <a:pos x="74" y="35"/>
                  </a:cxn>
                  <a:cxn ang="0">
                    <a:pos x="86" y="17"/>
                  </a:cxn>
                  <a:cxn ang="0">
                    <a:pos x="56" y="7"/>
                  </a:cxn>
                  <a:cxn ang="0">
                    <a:pos x="44" y="7"/>
                  </a:cxn>
                </a:cxnLst>
                <a:rect l="0" t="0" r="r" b="b"/>
                <a:pathLst>
                  <a:path w="86" h="57">
                    <a:moveTo>
                      <a:pt x="44" y="7"/>
                    </a:moveTo>
                    <a:cubicBezTo>
                      <a:pt x="39" y="14"/>
                      <a:pt x="31" y="20"/>
                      <a:pt x="24" y="25"/>
                    </a:cubicBezTo>
                    <a:cubicBezTo>
                      <a:pt x="16" y="19"/>
                      <a:pt x="12" y="22"/>
                      <a:pt x="4" y="27"/>
                    </a:cubicBezTo>
                    <a:cubicBezTo>
                      <a:pt x="0" y="38"/>
                      <a:pt x="4" y="53"/>
                      <a:pt x="16" y="57"/>
                    </a:cubicBezTo>
                    <a:cubicBezTo>
                      <a:pt x="33" y="51"/>
                      <a:pt x="60" y="45"/>
                      <a:pt x="74" y="35"/>
                    </a:cubicBezTo>
                    <a:cubicBezTo>
                      <a:pt x="78" y="29"/>
                      <a:pt x="86" y="17"/>
                      <a:pt x="86" y="17"/>
                    </a:cubicBezTo>
                    <a:cubicBezTo>
                      <a:pt x="80" y="0"/>
                      <a:pt x="74" y="5"/>
                      <a:pt x="56" y="7"/>
                    </a:cubicBezTo>
                    <a:cubicBezTo>
                      <a:pt x="43" y="11"/>
                      <a:pt x="44" y="15"/>
                      <a:pt x="44" y="7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1" name="未知"/>
              <p:cNvSpPr>
                <a:spLocks/>
              </p:cNvSpPr>
              <p:nvPr/>
            </p:nvSpPr>
            <p:spPr bwMode="auto">
              <a:xfrm>
                <a:off x="1055" y="114"/>
                <a:ext cx="55" cy="24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10" y="16"/>
                  </a:cxn>
                  <a:cxn ang="0">
                    <a:pos x="24" y="34"/>
                  </a:cxn>
                  <a:cxn ang="0">
                    <a:pos x="52" y="28"/>
                  </a:cxn>
                  <a:cxn ang="0">
                    <a:pos x="64" y="20"/>
                  </a:cxn>
                  <a:cxn ang="0">
                    <a:pos x="40" y="0"/>
                  </a:cxn>
                </a:cxnLst>
                <a:rect l="0" t="0" r="r" b="b"/>
                <a:pathLst>
                  <a:path w="73" h="34">
                    <a:moveTo>
                      <a:pt x="40" y="0"/>
                    </a:moveTo>
                    <a:cubicBezTo>
                      <a:pt x="30" y="6"/>
                      <a:pt x="20" y="10"/>
                      <a:pt x="10" y="16"/>
                    </a:cubicBezTo>
                    <a:cubicBezTo>
                      <a:pt x="0" y="31"/>
                      <a:pt x="13" y="30"/>
                      <a:pt x="24" y="34"/>
                    </a:cubicBezTo>
                    <a:cubicBezTo>
                      <a:pt x="44" y="31"/>
                      <a:pt x="35" y="34"/>
                      <a:pt x="52" y="28"/>
                    </a:cubicBezTo>
                    <a:cubicBezTo>
                      <a:pt x="57" y="26"/>
                      <a:pt x="64" y="20"/>
                      <a:pt x="64" y="20"/>
                    </a:cubicBezTo>
                    <a:cubicBezTo>
                      <a:pt x="73" y="7"/>
                      <a:pt x="48" y="8"/>
                      <a:pt x="40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2" name="未知"/>
              <p:cNvSpPr>
                <a:spLocks/>
              </p:cNvSpPr>
              <p:nvPr/>
            </p:nvSpPr>
            <p:spPr bwMode="auto">
              <a:xfrm>
                <a:off x="1025" y="78"/>
                <a:ext cx="66" cy="34"/>
              </a:xfrm>
              <a:custGeom>
                <a:avLst/>
                <a:gdLst/>
                <a:ahLst/>
                <a:cxnLst>
                  <a:cxn ang="0">
                    <a:pos x="58" y="10"/>
                  </a:cxn>
                  <a:cxn ang="0">
                    <a:pos x="28" y="4"/>
                  </a:cxn>
                  <a:cxn ang="0">
                    <a:pos x="0" y="18"/>
                  </a:cxn>
                  <a:cxn ang="0">
                    <a:pos x="40" y="32"/>
                  </a:cxn>
                  <a:cxn ang="0">
                    <a:pos x="64" y="40"/>
                  </a:cxn>
                  <a:cxn ang="0">
                    <a:pos x="84" y="18"/>
                  </a:cxn>
                  <a:cxn ang="0">
                    <a:pos x="82" y="6"/>
                  </a:cxn>
                  <a:cxn ang="0">
                    <a:pos x="64" y="0"/>
                  </a:cxn>
                  <a:cxn ang="0">
                    <a:pos x="58" y="10"/>
                  </a:cxn>
                </a:cxnLst>
                <a:rect l="0" t="0" r="r" b="b"/>
                <a:pathLst>
                  <a:path w="85" h="45">
                    <a:moveTo>
                      <a:pt x="58" y="10"/>
                    </a:moveTo>
                    <a:cubicBezTo>
                      <a:pt x="39" y="16"/>
                      <a:pt x="45" y="10"/>
                      <a:pt x="28" y="4"/>
                    </a:cubicBezTo>
                    <a:cubicBezTo>
                      <a:pt x="7" y="6"/>
                      <a:pt x="5" y="2"/>
                      <a:pt x="0" y="18"/>
                    </a:cubicBezTo>
                    <a:cubicBezTo>
                      <a:pt x="5" y="34"/>
                      <a:pt x="26" y="31"/>
                      <a:pt x="40" y="32"/>
                    </a:cubicBezTo>
                    <a:cubicBezTo>
                      <a:pt x="50" y="42"/>
                      <a:pt x="49" y="45"/>
                      <a:pt x="64" y="40"/>
                    </a:cubicBezTo>
                    <a:cubicBezTo>
                      <a:pt x="69" y="32"/>
                      <a:pt x="77" y="25"/>
                      <a:pt x="84" y="18"/>
                    </a:cubicBezTo>
                    <a:cubicBezTo>
                      <a:pt x="83" y="14"/>
                      <a:pt x="85" y="9"/>
                      <a:pt x="82" y="6"/>
                    </a:cubicBezTo>
                    <a:cubicBezTo>
                      <a:pt x="78" y="1"/>
                      <a:pt x="64" y="0"/>
                      <a:pt x="64" y="0"/>
                    </a:cubicBezTo>
                    <a:cubicBezTo>
                      <a:pt x="56" y="3"/>
                      <a:pt x="47" y="21"/>
                      <a:pt x="58" y="1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3" name="未知"/>
              <p:cNvSpPr>
                <a:spLocks/>
              </p:cNvSpPr>
              <p:nvPr/>
            </p:nvSpPr>
            <p:spPr bwMode="auto">
              <a:xfrm>
                <a:off x="997" y="46"/>
                <a:ext cx="45" cy="24"/>
              </a:xfrm>
              <a:custGeom>
                <a:avLst/>
                <a:gdLst/>
                <a:ahLst/>
                <a:cxnLst>
                  <a:cxn ang="0">
                    <a:pos x="16" y="4"/>
                  </a:cxn>
                  <a:cxn ang="0">
                    <a:pos x="0" y="18"/>
                  </a:cxn>
                  <a:cxn ang="0">
                    <a:pos x="20" y="28"/>
                  </a:cxn>
                  <a:cxn ang="0">
                    <a:pos x="28" y="20"/>
                  </a:cxn>
                  <a:cxn ang="0">
                    <a:pos x="52" y="12"/>
                  </a:cxn>
                  <a:cxn ang="0">
                    <a:pos x="44" y="0"/>
                  </a:cxn>
                  <a:cxn ang="0">
                    <a:pos x="16" y="4"/>
                  </a:cxn>
                </a:cxnLst>
                <a:rect l="0" t="0" r="r" b="b"/>
                <a:pathLst>
                  <a:path w="58" h="31">
                    <a:moveTo>
                      <a:pt x="16" y="4"/>
                    </a:moveTo>
                    <a:cubicBezTo>
                      <a:pt x="2" y="13"/>
                      <a:pt x="7" y="8"/>
                      <a:pt x="0" y="18"/>
                    </a:cubicBezTo>
                    <a:cubicBezTo>
                      <a:pt x="5" y="26"/>
                      <a:pt x="11" y="25"/>
                      <a:pt x="20" y="28"/>
                    </a:cubicBezTo>
                    <a:cubicBezTo>
                      <a:pt x="36" y="23"/>
                      <a:pt x="17" y="31"/>
                      <a:pt x="28" y="20"/>
                    </a:cubicBezTo>
                    <a:cubicBezTo>
                      <a:pt x="33" y="15"/>
                      <a:pt x="46" y="13"/>
                      <a:pt x="52" y="12"/>
                    </a:cubicBezTo>
                    <a:cubicBezTo>
                      <a:pt x="58" y="3"/>
                      <a:pt x="53" y="3"/>
                      <a:pt x="44" y="0"/>
                    </a:cubicBezTo>
                    <a:cubicBezTo>
                      <a:pt x="38" y="1"/>
                      <a:pt x="20" y="8"/>
                      <a:pt x="16" y="4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4" name="未知"/>
              <p:cNvSpPr>
                <a:spLocks/>
              </p:cNvSpPr>
              <p:nvPr/>
            </p:nvSpPr>
            <p:spPr bwMode="auto">
              <a:xfrm>
                <a:off x="1114" y="49"/>
                <a:ext cx="117" cy="77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14" y="6"/>
                  </a:cxn>
                  <a:cxn ang="0">
                    <a:pos x="4" y="38"/>
                  </a:cxn>
                  <a:cxn ang="0">
                    <a:pos x="12" y="56"/>
                  </a:cxn>
                  <a:cxn ang="0">
                    <a:pos x="0" y="72"/>
                  </a:cxn>
                  <a:cxn ang="0">
                    <a:pos x="56" y="86"/>
                  </a:cxn>
                  <a:cxn ang="0">
                    <a:pos x="82" y="92"/>
                  </a:cxn>
                  <a:cxn ang="0">
                    <a:pos x="152" y="86"/>
                  </a:cxn>
                  <a:cxn ang="0">
                    <a:pos x="76" y="70"/>
                  </a:cxn>
                  <a:cxn ang="0">
                    <a:pos x="54" y="62"/>
                  </a:cxn>
                  <a:cxn ang="0">
                    <a:pos x="44" y="52"/>
                  </a:cxn>
                  <a:cxn ang="0">
                    <a:pos x="50" y="34"/>
                  </a:cxn>
                  <a:cxn ang="0">
                    <a:pos x="38" y="0"/>
                  </a:cxn>
                </a:cxnLst>
                <a:rect l="0" t="0" r="r" b="b"/>
                <a:pathLst>
                  <a:path w="152" h="102">
                    <a:moveTo>
                      <a:pt x="38" y="0"/>
                    </a:moveTo>
                    <a:cubicBezTo>
                      <a:pt x="22" y="5"/>
                      <a:pt x="30" y="3"/>
                      <a:pt x="14" y="6"/>
                    </a:cubicBezTo>
                    <a:cubicBezTo>
                      <a:pt x="18" y="22"/>
                      <a:pt x="22" y="32"/>
                      <a:pt x="4" y="38"/>
                    </a:cubicBezTo>
                    <a:cubicBezTo>
                      <a:pt x="1" y="47"/>
                      <a:pt x="7" y="49"/>
                      <a:pt x="12" y="56"/>
                    </a:cubicBezTo>
                    <a:cubicBezTo>
                      <a:pt x="10" y="65"/>
                      <a:pt x="9" y="69"/>
                      <a:pt x="0" y="72"/>
                    </a:cubicBezTo>
                    <a:cubicBezTo>
                      <a:pt x="5" y="88"/>
                      <a:pt x="45" y="85"/>
                      <a:pt x="56" y="86"/>
                    </a:cubicBezTo>
                    <a:cubicBezTo>
                      <a:pt x="72" y="97"/>
                      <a:pt x="63" y="95"/>
                      <a:pt x="82" y="92"/>
                    </a:cubicBezTo>
                    <a:cubicBezTo>
                      <a:pt x="86" y="92"/>
                      <a:pt x="147" y="102"/>
                      <a:pt x="152" y="86"/>
                    </a:cubicBezTo>
                    <a:cubicBezTo>
                      <a:pt x="123" y="66"/>
                      <a:pt x="128" y="72"/>
                      <a:pt x="76" y="70"/>
                    </a:cubicBezTo>
                    <a:cubicBezTo>
                      <a:pt x="62" y="56"/>
                      <a:pt x="81" y="73"/>
                      <a:pt x="54" y="62"/>
                    </a:cubicBezTo>
                    <a:cubicBezTo>
                      <a:pt x="50" y="60"/>
                      <a:pt x="48" y="55"/>
                      <a:pt x="44" y="52"/>
                    </a:cubicBezTo>
                    <a:cubicBezTo>
                      <a:pt x="41" y="43"/>
                      <a:pt x="42" y="39"/>
                      <a:pt x="50" y="34"/>
                    </a:cubicBezTo>
                    <a:cubicBezTo>
                      <a:pt x="52" y="27"/>
                      <a:pt x="42" y="9"/>
                      <a:pt x="38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5" name="未知"/>
              <p:cNvSpPr>
                <a:spLocks/>
              </p:cNvSpPr>
              <p:nvPr/>
            </p:nvSpPr>
            <p:spPr bwMode="auto">
              <a:xfrm>
                <a:off x="0" y="293"/>
                <a:ext cx="26" cy="15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24" y="20"/>
                  </a:cxn>
                  <a:cxn ang="0">
                    <a:pos x="4" y="18"/>
                  </a:cxn>
                  <a:cxn ang="0">
                    <a:pos x="4" y="6"/>
                  </a:cxn>
                  <a:cxn ang="0">
                    <a:pos x="34" y="0"/>
                  </a:cxn>
                </a:cxnLst>
                <a:rect l="0" t="0" r="r" b="b"/>
                <a:pathLst>
                  <a:path w="34" h="20">
                    <a:moveTo>
                      <a:pt x="34" y="0"/>
                    </a:moveTo>
                    <a:cubicBezTo>
                      <a:pt x="32" y="10"/>
                      <a:pt x="34" y="17"/>
                      <a:pt x="24" y="20"/>
                    </a:cubicBezTo>
                    <a:cubicBezTo>
                      <a:pt x="17" y="19"/>
                      <a:pt x="10" y="20"/>
                      <a:pt x="4" y="18"/>
                    </a:cubicBezTo>
                    <a:cubicBezTo>
                      <a:pt x="0" y="17"/>
                      <a:pt x="2" y="7"/>
                      <a:pt x="4" y="6"/>
                    </a:cubicBezTo>
                    <a:cubicBezTo>
                      <a:pt x="12" y="0"/>
                      <a:pt x="24" y="0"/>
                      <a:pt x="34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6" name="未知"/>
              <p:cNvSpPr>
                <a:spLocks/>
              </p:cNvSpPr>
              <p:nvPr/>
            </p:nvSpPr>
            <p:spPr bwMode="auto">
              <a:xfrm>
                <a:off x="776" y="802"/>
                <a:ext cx="16" cy="1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3" y="16"/>
                  </a:cxn>
                  <a:cxn ang="0">
                    <a:pos x="3" y="0"/>
                  </a:cxn>
                </a:cxnLst>
                <a:rect l="0" t="0" r="r" b="b"/>
                <a:pathLst>
                  <a:path w="21" h="16">
                    <a:moveTo>
                      <a:pt x="3" y="0"/>
                    </a:moveTo>
                    <a:cubicBezTo>
                      <a:pt x="0" y="9"/>
                      <a:pt x="6" y="11"/>
                      <a:pt x="13" y="16"/>
                    </a:cubicBezTo>
                    <a:cubicBezTo>
                      <a:pt x="21" y="4"/>
                      <a:pt x="16" y="2"/>
                      <a:pt x="3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7" name="未知"/>
              <p:cNvSpPr>
                <a:spLocks/>
              </p:cNvSpPr>
              <p:nvPr/>
            </p:nvSpPr>
            <p:spPr bwMode="auto">
              <a:xfrm>
                <a:off x="779" y="827"/>
                <a:ext cx="16" cy="1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3" y="16"/>
                  </a:cxn>
                  <a:cxn ang="0">
                    <a:pos x="3" y="0"/>
                  </a:cxn>
                </a:cxnLst>
                <a:rect l="0" t="0" r="r" b="b"/>
                <a:pathLst>
                  <a:path w="21" h="16">
                    <a:moveTo>
                      <a:pt x="3" y="0"/>
                    </a:moveTo>
                    <a:cubicBezTo>
                      <a:pt x="0" y="9"/>
                      <a:pt x="6" y="11"/>
                      <a:pt x="13" y="16"/>
                    </a:cubicBezTo>
                    <a:cubicBezTo>
                      <a:pt x="21" y="4"/>
                      <a:pt x="16" y="2"/>
                      <a:pt x="3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8" name="未知"/>
              <p:cNvSpPr>
                <a:spLocks/>
              </p:cNvSpPr>
              <p:nvPr/>
            </p:nvSpPr>
            <p:spPr bwMode="auto">
              <a:xfrm>
                <a:off x="988" y="958"/>
                <a:ext cx="16" cy="1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3" y="16"/>
                  </a:cxn>
                  <a:cxn ang="0">
                    <a:pos x="3" y="0"/>
                  </a:cxn>
                </a:cxnLst>
                <a:rect l="0" t="0" r="r" b="b"/>
                <a:pathLst>
                  <a:path w="21" h="16">
                    <a:moveTo>
                      <a:pt x="3" y="0"/>
                    </a:moveTo>
                    <a:cubicBezTo>
                      <a:pt x="0" y="9"/>
                      <a:pt x="6" y="11"/>
                      <a:pt x="13" y="16"/>
                    </a:cubicBezTo>
                    <a:cubicBezTo>
                      <a:pt x="21" y="4"/>
                      <a:pt x="16" y="2"/>
                      <a:pt x="3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9" name="未知"/>
              <p:cNvSpPr>
                <a:spLocks/>
              </p:cNvSpPr>
              <p:nvPr/>
            </p:nvSpPr>
            <p:spPr bwMode="auto">
              <a:xfrm>
                <a:off x="1115" y="476"/>
                <a:ext cx="39" cy="1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7" y="18"/>
                  </a:cxn>
                  <a:cxn ang="0">
                    <a:pos x="27" y="24"/>
                  </a:cxn>
                  <a:cxn ang="0">
                    <a:pos x="33" y="4"/>
                  </a:cxn>
                  <a:cxn ang="0">
                    <a:pos x="13" y="0"/>
                  </a:cxn>
                </a:cxnLst>
                <a:rect l="0" t="0" r="r" b="b"/>
                <a:pathLst>
                  <a:path w="51" h="24">
                    <a:moveTo>
                      <a:pt x="13" y="0"/>
                    </a:moveTo>
                    <a:cubicBezTo>
                      <a:pt x="12" y="2"/>
                      <a:pt x="0" y="12"/>
                      <a:pt x="7" y="18"/>
                    </a:cubicBezTo>
                    <a:cubicBezTo>
                      <a:pt x="12" y="22"/>
                      <a:pt x="27" y="24"/>
                      <a:pt x="27" y="24"/>
                    </a:cubicBezTo>
                    <a:cubicBezTo>
                      <a:pt x="44" y="22"/>
                      <a:pt x="51" y="16"/>
                      <a:pt x="33" y="4"/>
                    </a:cubicBezTo>
                    <a:cubicBezTo>
                      <a:pt x="29" y="1"/>
                      <a:pt x="14" y="0"/>
                      <a:pt x="13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0" name="未知"/>
              <p:cNvSpPr>
                <a:spLocks/>
              </p:cNvSpPr>
              <p:nvPr/>
            </p:nvSpPr>
            <p:spPr bwMode="auto">
              <a:xfrm>
                <a:off x="1013" y="272"/>
                <a:ext cx="39" cy="1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7" y="18"/>
                  </a:cxn>
                  <a:cxn ang="0">
                    <a:pos x="27" y="24"/>
                  </a:cxn>
                  <a:cxn ang="0">
                    <a:pos x="33" y="4"/>
                  </a:cxn>
                  <a:cxn ang="0">
                    <a:pos x="13" y="0"/>
                  </a:cxn>
                </a:cxnLst>
                <a:rect l="0" t="0" r="r" b="b"/>
                <a:pathLst>
                  <a:path w="51" h="24">
                    <a:moveTo>
                      <a:pt x="13" y="0"/>
                    </a:moveTo>
                    <a:cubicBezTo>
                      <a:pt x="12" y="2"/>
                      <a:pt x="0" y="12"/>
                      <a:pt x="7" y="18"/>
                    </a:cubicBezTo>
                    <a:cubicBezTo>
                      <a:pt x="12" y="22"/>
                      <a:pt x="27" y="24"/>
                      <a:pt x="27" y="24"/>
                    </a:cubicBezTo>
                    <a:cubicBezTo>
                      <a:pt x="44" y="22"/>
                      <a:pt x="51" y="16"/>
                      <a:pt x="33" y="4"/>
                    </a:cubicBezTo>
                    <a:cubicBezTo>
                      <a:pt x="29" y="1"/>
                      <a:pt x="14" y="0"/>
                      <a:pt x="13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1" name="未知"/>
              <p:cNvSpPr>
                <a:spLocks/>
              </p:cNvSpPr>
              <p:nvPr/>
            </p:nvSpPr>
            <p:spPr bwMode="auto">
              <a:xfrm>
                <a:off x="1079" y="94"/>
                <a:ext cx="40" cy="1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7" y="18"/>
                  </a:cxn>
                  <a:cxn ang="0">
                    <a:pos x="27" y="24"/>
                  </a:cxn>
                  <a:cxn ang="0">
                    <a:pos x="33" y="4"/>
                  </a:cxn>
                  <a:cxn ang="0">
                    <a:pos x="13" y="0"/>
                  </a:cxn>
                </a:cxnLst>
                <a:rect l="0" t="0" r="r" b="b"/>
                <a:pathLst>
                  <a:path w="51" h="24">
                    <a:moveTo>
                      <a:pt x="13" y="0"/>
                    </a:moveTo>
                    <a:cubicBezTo>
                      <a:pt x="12" y="2"/>
                      <a:pt x="0" y="12"/>
                      <a:pt x="7" y="18"/>
                    </a:cubicBezTo>
                    <a:cubicBezTo>
                      <a:pt x="12" y="22"/>
                      <a:pt x="27" y="24"/>
                      <a:pt x="27" y="24"/>
                    </a:cubicBezTo>
                    <a:cubicBezTo>
                      <a:pt x="44" y="22"/>
                      <a:pt x="51" y="16"/>
                      <a:pt x="33" y="4"/>
                    </a:cubicBezTo>
                    <a:cubicBezTo>
                      <a:pt x="29" y="1"/>
                      <a:pt x="14" y="0"/>
                      <a:pt x="13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2" name="未知"/>
              <p:cNvSpPr>
                <a:spLocks/>
              </p:cNvSpPr>
              <p:nvPr/>
            </p:nvSpPr>
            <p:spPr bwMode="auto">
              <a:xfrm>
                <a:off x="1144" y="201"/>
                <a:ext cx="39" cy="1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7" y="18"/>
                  </a:cxn>
                  <a:cxn ang="0">
                    <a:pos x="27" y="24"/>
                  </a:cxn>
                  <a:cxn ang="0">
                    <a:pos x="33" y="4"/>
                  </a:cxn>
                  <a:cxn ang="0">
                    <a:pos x="13" y="0"/>
                  </a:cxn>
                </a:cxnLst>
                <a:rect l="0" t="0" r="r" b="b"/>
                <a:pathLst>
                  <a:path w="51" h="24">
                    <a:moveTo>
                      <a:pt x="13" y="0"/>
                    </a:moveTo>
                    <a:cubicBezTo>
                      <a:pt x="12" y="2"/>
                      <a:pt x="0" y="12"/>
                      <a:pt x="7" y="18"/>
                    </a:cubicBezTo>
                    <a:cubicBezTo>
                      <a:pt x="12" y="22"/>
                      <a:pt x="27" y="24"/>
                      <a:pt x="27" y="24"/>
                    </a:cubicBezTo>
                    <a:cubicBezTo>
                      <a:pt x="44" y="22"/>
                      <a:pt x="51" y="16"/>
                      <a:pt x="33" y="4"/>
                    </a:cubicBezTo>
                    <a:cubicBezTo>
                      <a:pt x="29" y="1"/>
                      <a:pt x="14" y="0"/>
                      <a:pt x="13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3" name="未知"/>
              <p:cNvSpPr>
                <a:spLocks/>
              </p:cNvSpPr>
              <p:nvPr/>
            </p:nvSpPr>
            <p:spPr bwMode="auto">
              <a:xfrm>
                <a:off x="1160" y="0"/>
                <a:ext cx="714" cy="345"/>
              </a:xfrm>
              <a:custGeom>
                <a:avLst/>
                <a:gdLst/>
                <a:ahLst/>
                <a:cxnLst>
                  <a:cxn ang="0">
                    <a:pos x="28" y="56"/>
                  </a:cxn>
                  <a:cxn ang="0">
                    <a:pos x="6" y="92"/>
                  </a:cxn>
                  <a:cxn ang="0">
                    <a:pos x="36" y="100"/>
                  </a:cxn>
                  <a:cxn ang="0">
                    <a:pos x="16" y="116"/>
                  </a:cxn>
                  <a:cxn ang="0">
                    <a:pos x="104" y="136"/>
                  </a:cxn>
                  <a:cxn ang="0">
                    <a:pos x="142" y="130"/>
                  </a:cxn>
                  <a:cxn ang="0">
                    <a:pos x="250" y="78"/>
                  </a:cxn>
                  <a:cxn ang="0">
                    <a:pos x="300" y="66"/>
                  </a:cxn>
                  <a:cxn ang="0">
                    <a:pos x="324" y="80"/>
                  </a:cxn>
                  <a:cxn ang="0">
                    <a:pos x="272" y="88"/>
                  </a:cxn>
                  <a:cxn ang="0">
                    <a:pos x="242" y="112"/>
                  </a:cxn>
                  <a:cxn ang="0">
                    <a:pos x="254" y="120"/>
                  </a:cxn>
                  <a:cxn ang="0">
                    <a:pos x="260" y="158"/>
                  </a:cxn>
                  <a:cxn ang="0">
                    <a:pos x="350" y="192"/>
                  </a:cxn>
                  <a:cxn ang="0">
                    <a:pos x="336" y="210"/>
                  </a:cxn>
                  <a:cxn ang="0">
                    <a:pos x="368" y="246"/>
                  </a:cxn>
                  <a:cxn ang="0">
                    <a:pos x="348" y="266"/>
                  </a:cxn>
                  <a:cxn ang="0">
                    <a:pos x="324" y="294"/>
                  </a:cxn>
                  <a:cxn ang="0">
                    <a:pos x="294" y="324"/>
                  </a:cxn>
                  <a:cxn ang="0">
                    <a:pos x="292" y="420"/>
                  </a:cxn>
                  <a:cxn ang="0">
                    <a:pos x="332" y="446"/>
                  </a:cxn>
                  <a:cxn ang="0">
                    <a:pos x="388" y="448"/>
                  </a:cxn>
                  <a:cxn ang="0">
                    <a:pos x="412" y="422"/>
                  </a:cxn>
                  <a:cxn ang="0">
                    <a:pos x="506" y="356"/>
                  </a:cxn>
                  <a:cxn ang="0">
                    <a:pos x="572" y="334"/>
                  </a:cxn>
                  <a:cxn ang="0">
                    <a:pos x="646" y="308"/>
                  </a:cxn>
                  <a:cxn ang="0">
                    <a:pos x="720" y="290"/>
                  </a:cxn>
                  <a:cxn ang="0">
                    <a:pos x="762" y="260"/>
                  </a:cxn>
                  <a:cxn ang="0">
                    <a:pos x="800" y="200"/>
                  </a:cxn>
                  <a:cxn ang="0">
                    <a:pos x="802" y="154"/>
                  </a:cxn>
                  <a:cxn ang="0">
                    <a:pos x="802" y="124"/>
                  </a:cxn>
                  <a:cxn ang="0">
                    <a:pos x="832" y="90"/>
                  </a:cxn>
                  <a:cxn ang="0">
                    <a:pos x="876" y="94"/>
                  </a:cxn>
                  <a:cxn ang="0">
                    <a:pos x="922" y="52"/>
                  </a:cxn>
                  <a:cxn ang="0">
                    <a:pos x="888" y="56"/>
                  </a:cxn>
                  <a:cxn ang="0">
                    <a:pos x="848" y="46"/>
                  </a:cxn>
                  <a:cxn ang="0">
                    <a:pos x="794" y="22"/>
                  </a:cxn>
                  <a:cxn ang="0">
                    <a:pos x="642" y="26"/>
                  </a:cxn>
                  <a:cxn ang="0">
                    <a:pos x="584" y="38"/>
                  </a:cxn>
                  <a:cxn ang="0">
                    <a:pos x="556" y="38"/>
                  </a:cxn>
                  <a:cxn ang="0">
                    <a:pos x="516" y="54"/>
                  </a:cxn>
                  <a:cxn ang="0">
                    <a:pos x="478" y="30"/>
                  </a:cxn>
                  <a:cxn ang="0">
                    <a:pos x="432" y="40"/>
                  </a:cxn>
                  <a:cxn ang="0">
                    <a:pos x="366" y="52"/>
                  </a:cxn>
                  <a:cxn ang="0">
                    <a:pos x="410" y="38"/>
                  </a:cxn>
                  <a:cxn ang="0">
                    <a:pos x="352" y="8"/>
                  </a:cxn>
                  <a:cxn ang="0">
                    <a:pos x="334" y="2"/>
                  </a:cxn>
                  <a:cxn ang="0">
                    <a:pos x="314" y="8"/>
                  </a:cxn>
                  <a:cxn ang="0">
                    <a:pos x="240" y="16"/>
                  </a:cxn>
                  <a:cxn ang="0">
                    <a:pos x="160" y="28"/>
                  </a:cxn>
                  <a:cxn ang="0">
                    <a:pos x="108" y="26"/>
                  </a:cxn>
                  <a:cxn ang="0">
                    <a:pos x="114" y="68"/>
                  </a:cxn>
                  <a:cxn ang="0">
                    <a:pos x="104" y="52"/>
                  </a:cxn>
                  <a:cxn ang="0">
                    <a:pos x="60" y="42"/>
                  </a:cxn>
                </a:cxnLst>
                <a:rect l="0" t="0" r="r" b="b"/>
                <a:pathLst>
                  <a:path w="929" h="462">
                    <a:moveTo>
                      <a:pt x="60" y="42"/>
                    </a:moveTo>
                    <a:cubicBezTo>
                      <a:pt x="40" y="45"/>
                      <a:pt x="42" y="46"/>
                      <a:pt x="28" y="56"/>
                    </a:cubicBezTo>
                    <a:cubicBezTo>
                      <a:pt x="26" y="74"/>
                      <a:pt x="27" y="75"/>
                      <a:pt x="10" y="78"/>
                    </a:cubicBezTo>
                    <a:cubicBezTo>
                      <a:pt x="4" y="82"/>
                      <a:pt x="0" y="82"/>
                      <a:pt x="6" y="92"/>
                    </a:cubicBezTo>
                    <a:cubicBezTo>
                      <a:pt x="10" y="98"/>
                      <a:pt x="21" y="96"/>
                      <a:pt x="28" y="98"/>
                    </a:cubicBezTo>
                    <a:cubicBezTo>
                      <a:pt x="31" y="99"/>
                      <a:pt x="36" y="100"/>
                      <a:pt x="36" y="100"/>
                    </a:cubicBezTo>
                    <a:cubicBezTo>
                      <a:pt x="47" y="99"/>
                      <a:pt x="69" y="97"/>
                      <a:pt x="50" y="110"/>
                    </a:cubicBezTo>
                    <a:cubicBezTo>
                      <a:pt x="37" y="108"/>
                      <a:pt x="24" y="104"/>
                      <a:pt x="16" y="116"/>
                    </a:cubicBezTo>
                    <a:cubicBezTo>
                      <a:pt x="24" y="141"/>
                      <a:pt x="68" y="125"/>
                      <a:pt x="94" y="126"/>
                    </a:cubicBezTo>
                    <a:cubicBezTo>
                      <a:pt x="98" y="129"/>
                      <a:pt x="100" y="134"/>
                      <a:pt x="104" y="136"/>
                    </a:cubicBezTo>
                    <a:cubicBezTo>
                      <a:pt x="108" y="138"/>
                      <a:pt x="116" y="140"/>
                      <a:pt x="116" y="140"/>
                    </a:cubicBezTo>
                    <a:cubicBezTo>
                      <a:pt x="129" y="138"/>
                      <a:pt x="133" y="139"/>
                      <a:pt x="142" y="130"/>
                    </a:cubicBezTo>
                    <a:cubicBezTo>
                      <a:pt x="151" y="104"/>
                      <a:pt x="179" y="110"/>
                      <a:pt x="202" y="102"/>
                    </a:cubicBezTo>
                    <a:cubicBezTo>
                      <a:pt x="219" y="96"/>
                      <a:pt x="233" y="84"/>
                      <a:pt x="250" y="78"/>
                    </a:cubicBezTo>
                    <a:cubicBezTo>
                      <a:pt x="260" y="75"/>
                      <a:pt x="269" y="74"/>
                      <a:pt x="280" y="72"/>
                    </a:cubicBezTo>
                    <a:cubicBezTo>
                      <a:pt x="287" y="71"/>
                      <a:pt x="300" y="66"/>
                      <a:pt x="300" y="66"/>
                    </a:cubicBezTo>
                    <a:cubicBezTo>
                      <a:pt x="311" y="49"/>
                      <a:pt x="336" y="54"/>
                      <a:pt x="354" y="60"/>
                    </a:cubicBezTo>
                    <a:cubicBezTo>
                      <a:pt x="367" y="79"/>
                      <a:pt x="335" y="79"/>
                      <a:pt x="324" y="80"/>
                    </a:cubicBezTo>
                    <a:cubicBezTo>
                      <a:pt x="312" y="83"/>
                      <a:pt x="306" y="93"/>
                      <a:pt x="292" y="96"/>
                    </a:cubicBezTo>
                    <a:cubicBezTo>
                      <a:pt x="284" y="94"/>
                      <a:pt x="279" y="90"/>
                      <a:pt x="272" y="88"/>
                    </a:cubicBezTo>
                    <a:cubicBezTo>
                      <a:pt x="253" y="91"/>
                      <a:pt x="232" y="96"/>
                      <a:pt x="214" y="102"/>
                    </a:cubicBezTo>
                    <a:cubicBezTo>
                      <a:pt x="223" y="108"/>
                      <a:pt x="231" y="109"/>
                      <a:pt x="242" y="112"/>
                    </a:cubicBezTo>
                    <a:cubicBezTo>
                      <a:pt x="245" y="113"/>
                      <a:pt x="250" y="114"/>
                      <a:pt x="250" y="114"/>
                    </a:cubicBezTo>
                    <a:cubicBezTo>
                      <a:pt x="251" y="116"/>
                      <a:pt x="255" y="118"/>
                      <a:pt x="254" y="120"/>
                    </a:cubicBezTo>
                    <a:cubicBezTo>
                      <a:pt x="252" y="124"/>
                      <a:pt x="242" y="128"/>
                      <a:pt x="242" y="128"/>
                    </a:cubicBezTo>
                    <a:cubicBezTo>
                      <a:pt x="233" y="141"/>
                      <a:pt x="247" y="154"/>
                      <a:pt x="260" y="158"/>
                    </a:cubicBezTo>
                    <a:cubicBezTo>
                      <a:pt x="282" y="155"/>
                      <a:pt x="295" y="151"/>
                      <a:pt x="318" y="150"/>
                    </a:cubicBezTo>
                    <a:cubicBezTo>
                      <a:pt x="334" y="155"/>
                      <a:pt x="345" y="176"/>
                      <a:pt x="350" y="192"/>
                    </a:cubicBezTo>
                    <a:cubicBezTo>
                      <a:pt x="349" y="195"/>
                      <a:pt x="350" y="199"/>
                      <a:pt x="348" y="202"/>
                    </a:cubicBezTo>
                    <a:cubicBezTo>
                      <a:pt x="345" y="206"/>
                      <a:pt x="336" y="210"/>
                      <a:pt x="336" y="210"/>
                    </a:cubicBezTo>
                    <a:cubicBezTo>
                      <a:pt x="327" y="224"/>
                      <a:pt x="332" y="235"/>
                      <a:pt x="348" y="240"/>
                    </a:cubicBezTo>
                    <a:cubicBezTo>
                      <a:pt x="358" y="237"/>
                      <a:pt x="362" y="237"/>
                      <a:pt x="368" y="246"/>
                    </a:cubicBezTo>
                    <a:cubicBezTo>
                      <a:pt x="360" y="252"/>
                      <a:pt x="346" y="246"/>
                      <a:pt x="338" y="252"/>
                    </a:cubicBezTo>
                    <a:cubicBezTo>
                      <a:pt x="326" y="260"/>
                      <a:pt x="346" y="265"/>
                      <a:pt x="348" y="266"/>
                    </a:cubicBezTo>
                    <a:cubicBezTo>
                      <a:pt x="352" y="278"/>
                      <a:pt x="347" y="279"/>
                      <a:pt x="336" y="286"/>
                    </a:cubicBezTo>
                    <a:cubicBezTo>
                      <a:pt x="332" y="289"/>
                      <a:pt x="324" y="294"/>
                      <a:pt x="324" y="294"/>
                    </a:cubicBezTo>
                    <a:cubicBezTo>
                      <a:pt x="315" y="308"/>
                      <a:pt x="320" y="303"/>
                      <a:pt x="310" y="310"/>
                    </a:cubicBezTo>
                    <a:cubicBezTo>
                      <a:pt x="306" y="316"/>
                      <a:pt x="294" y="324"/>
                      <a:pt x="294" y="324"/>
                    </a:cubicBezTo>
                    <a:cubicBezTo>
                      <a:pt x="285" y="338"/>
                      <a:pt x="288" y="331"/>
                      <a:pt x="284" y="342"/>
                    </a:cubicBezTo>
                    <a:cubicBezTo>
                      <a:pt x="285" y="374"/>
                      <a:pt x="283" y="393"/>
                      <a:pt x="292" y="420"/>
                    </a:cubicBezTo>
                    <a:cubicBezTo>
                      <a:pt x="295" y="429"/>
                      <a:pt x="307" y="435"/>
                      <a:pt x="314" y="440"/>
                    </a:cubicBezTo>
                    <a:cubicBezTo>
                      <a:pt x="319" y="444"/>
                      <a:pt x="332" y="446"/>
                      <a:pt x="332" y="446"/>
                    </a:cubicBezTo>
                    <a:cubicBezTo>
                      <a:pt x="340" y="457"/>
                      <a:pt x="345" y="459"/>
                      <a:pt x="358" y="462"/>
                    </a:cubicBezTo>
                    <a:cubicBezTo>
                      <a:pt x="376" y="459"/>
                      <a:pt x="375" y="457"/>
                      <a:pt x="388" y="448"/>
                    </a:cubicBezTo>
                    <a:cubicBezTo>
                      <a:pt x="390" y="441"/>
                      <a:pt x="394" y="435"/>
                      <a:pt x="400" y="430"/>
                    </a:cubicBezTo>
                    <a:cubicBezTo>
                      <a:pt x="404" y="427"/>
                      <a:pt x="412" y="422"/>
                      <a:pt x="412" y="422"/>
                    </a:cubicBezTo>
                    <a:cubicBezTo>
                      <a:pt x="417" y="415"/>
                      <a:pt x="451" y="367"/>
                      <a:pt x="458" y="364"/>
                    </a:cubicBezTo>
                    <a:cubicBezTo>
                      <a:pt x="475" y="356"/>
                      <a:pt x="486" y="357"/>
                      <a:pt x="506" y="356"/>
                    </a:cubicBezTo>
                    <a:cubicBezTo>
                      <a:pt x="525" y="350"/>
                      <a:pt x="533" y="342"/>
                      <a:pt x="554" y="340"/>
                    </a:cubicBezTo>
                    <a:cubicBezTo>
                      <a:pt x="560" y="338"/>
                      <a:pt x="566" y="336"/>
                      <a:pt x="572" y="334"/>
                    </a:cubicBezTo>
                    <a:cubicBezTo>
                      <a:pt x="576" y="333"/>
                      <a:pt x="584" y="330"/>
                      <a:pt x="584" y="330"/>
                    </a:cubicBezTo>
                    <a:cubicBezTo>
                      <a:pt x="603" y="311"/>
                      <a:pt x="618" y="310"/>
                      <a:pt x="646" y="308"/>
                    </a:cubicBezTo>
                    <a:cubicBezTo>
                      <a:pt x="665" y="304"/>
                      <a:pt x="684" y="303"/>
                      <a:pt x="704" y="302"/>
                    </a:cubicBezTo>
                    <a:cubicBezTo>
                      <a:pt x="712" y="299"/>
                      <a:pt x="712" y="293"/>
                      <a:pt x="720" y="290"/>
                    </a:cubicBezTo>
                    <a:cubicBezTo>
                      <a:pt x="732" y="285"/>
                      <a:pt x="743" y="285"/>
                      <a:pt x="754" y="278"/>
                    </a:cubicBezTo>
                    <a:cubicBezTo>
                      <a:pt x="756" y="271"/>
                      <a:pt x="760" y="267"/>
                      <a:pt x="762" y="260"/>
                    </a:cubicBezTo>
                    <a:cubicBezTo>
                      <a:pt x="763" y="247"/>
                      <a:pt x="762" y="233"/>
                      <a:pt x="764" y="220"/>
                    </a:cubicBezTo>
                    <a:cubicBezTo>
                      <a:pt x="764" y="219"/>
                      <a:pt x="794" y="204"/>
                      <a:pt x="800" y="200"/>
                    </a:cubicBezTo>
                    <a:cubicBezTo>
                      <a:pt x="807" y="189"/>
                      <a:pt x="808" y="186"/>
                      <a:pt x="820" y="182"/>
                    </a:cubicBezTo>
                    <a:cubicBezTo>
                      <a:pt x="825" y="166"/>
                      <a:pt x="814" y="162"/>
                      <a:pt x="802" y="154"/>
                    </a:cubicBezTo>
                    <a:cubicBezTo>
                      <a:pt x="797" y="151"/>
                      <a:pt x="790" y="142"/>
                      <a:pt x="790" y="142"/>
                    </a:cubicBezTo>
                    <a:cubicBezTo>
                      <a:pt x="786" y="131"/>
                      <a:pt x="792" y="127"/>
                      <a:pt x="802" y="124"/>
                    </a:cubicBezTo>
                    <a:cubicBezTo>
                      <a:pt x="810" y="116"/>
                      <a:pt x="813" y="98"/>
                      <a:pt x="820" y="94"/>
                    </a:cubicBezTo>
                    <a:cubicBezTo>
                      <a:pt x="824" y="92"/>
                      <a:pt x="832" y="90"/>
                      <a:pt x="832" y="90"/>
                    </a:cubicBezTo>
                    <a:cubicBezTo>
                      <a:pt x="844" y="92"/>
                      <a:pt x="848" y="92"/>
                      <a:pt x="856" y="100"/>
                    </a:cubicBezTo>
                    <a:cubicBezTo>
                      <a:pt x="863" y="98"/>
                      <a:pt x="876" y="94"/>
                      <a:pt x="876" y="94"/>
                    </a:cubicBezTo>
                    <a:cubicBezTo>
                      <a:pt x="889" y="81"/>
                      <a:pt x="906" y="77"/>
                      <a:pt x="924" y="74"/>
                    </a:cubicBezTo>
                    <a:cubicBezTo>
                      <a:pt x="929" y="67"/>
                      <a:pt x="929" y="58"/>
                      <a:pt x="922" y="52"/>
                    </a:cubicBezTo>
                    <a:cubicBezTo>
                      <a:pt x="918" y="49"/>
                      <a:pt x="910" y="44"/>
                      <a:pt x="910" y="44"/>
                    </a:cubicBezTo>
                    <a:cubicBezTo>
                      <a:pt x="894" y="47"/>
                      <a:pt x="899" y="49"/>
                      <a:pt x="888" y="56"/>
                    </a:cubicBezTo>
                    <a:cubicBezTo>
                      <a:pt x="884" y="58"/>
                      <a:pt x="876" y="60"/>
                      <a:pt x="876" y="60"/>
                    </a:cubicBezTo>
                    <a:cubicBezTo>
                      <a:pt x="853" y="59"/>
                      <a:pt x="810" y="59"/>
                      <a:pt x="848" y="46"/>
                    </a:cubicBezTo>
                    <a:cubicBezTo>
                      <a:pt x="844" y="33"/>
                      <a:pt x="831" y="37"/>
                      <a:pt x="818" y="36"/>
                    </a:cubicBezTo>
                    <a:cubicBezTo>
                      <a:pt x="809" y="33"/>
                      <a:pt x="802" y="27"/>
                      <a:pt x="794" y="22"/>
                    </a:cubicBezTo>
                    <a:cubicBezTo>
                      <a:pt x="790" y="20"/>
                      <a:pt x="782" y="18"/>
                      <a:pt x="782" y="18"/>
                    </a:cubicBezTo>
                    <a:cubicBezTo>
                      <a:pt x="727" y="19"/>
                      <a:pt x="688" y="11"/>
                      <a:pt x="642" y="26"/>
                    </a:cubicBezTo>
                    <a:cubicBezTo>
                      <a:pt x="635" y="16"/>
                      <a:pt x="632" y="18"/>
                      <a:pt x="620" y="20"/>
                    </a:cubicBezTo>
                    <a:cubicBezTo>
                      <a:pt x="611" y="34"/>
                      <a:pt x="600" y="36"/>
                      <a:pt x="584" y="38"/>
                    </a:cubicBezTo>
                    <a:cubicBezTo>
                      <a:pt x="575" y="44"/>
                      <a:pt x="581" y="46"/>
                      <a:pt x="578" y="56"/>
                    </a:cubicBezTo>
                    <a:cubicBezTo>
                      <a:pt x="572" y="47"/>
                      <a:pt x="566" y="41"/>
                      <a:pt x="556" y="38"/>
                    </a:cubicBezTo>
                    <a:cubicBezTo>
                      <a:pt x="553" y="38"/>
                      <a:pt x="539" y="39"/>
                      <a:pt x="534" y="42"/>
                    </a:cubicBezTo>
                    <a:cubicBezTo>
                      <a:pt x="528" y="46"/>
                      <a:pt x="516" y="54"/>
                      <a:pt x="516" y="54"/>
                    </a:cubicBezTo>
                    <a:cubicBezTo>
                      <a:pt x="507" y="52"/>
                      <a:pt x="503" y="51"/>
                      <a:pt x="500" y="42"/>
                    </a:cubicBezTo>
                    <a:cubicBezTo>
                      <a:pt x="505" y="28"/>
                      <a:pt x="488" y="31"/>
                      <a:pt x="478" y="30"/>
                    </a:cubicBezTo>
                    <a:cubicBezTo>
                      <a:pt x="469" y="33"/>
                      <a:pt x="473" y="37"/>
                      <a:pt x="464" y="40"/>
                    </a:cubicBezTo>
                    <a:cubicBezTo>
                      <a:pt x="447" y="34"/>
                      <a:pt x="451" y="27"/>
                      <a:pt x="432" y="40"/>
                    </a:cubicBezTo>
                    <a:cubicBezTo>
                      <a:pt x="427" y="54"/>
                      <a:pt x="427" y="52"/>
                      <a:pt x="410" y="50"/>
                    </a:cubicBezTo>
                    <a:cubicBezTo>
                      <a:pt x="391" y="52"/>
                      <a:pt x="385" y="54"/>
                      <a:pt x="366" y="52"/>
                    </a:cubicBezTo>
                    <a:cubicBezTo>
                      <a:pt x="357" y="49"/>
                      <a:pt x="356" y="46"/>
                      <a:pt x="364" y="40"/>
                    </a:cubicBezTo>
                    <a:cubicBezTo>
                      <a:pt x="380" y="42"/>
                      <a:pt x="395" y="43"/>
                      <a:pt x="410" y="38"/>
                    </a:cubicBezTo>
                    <a:cubicBezTo>
                      <a:pt x="426" y="15"/>
                      <a:pt x="386" y="21"/>
                      <a:pt x="370" y="20"/>
                    </a:cubicBezTo>
                    <a:cubicBezTo>
                      <a:pt x="364" y="16"/>
                      <a:pt x="358" y="12"/>
                      <a:pt x="352" y="8"/>
                    </a:cubicBezTo>
                    <a:cubicBezTo>
                      <a:pt x="348" y="5"/>
                      <a:pt x="340" y="0"/>
                      <a:pt x="340" y="0"/>
                    </a:cubicBezTo>
                    <a:cubicBezTo>
                      <a:pt x="338" y="1"/>
                      <a:pt x="336" y="1"/>
                      <a:pt x="334" y="2"/>
                    </a:cubicBezTo>
                    <a:cubicBezTo>
                      <a:pt x="331" y="3"/>
                      <a:pt x="329" y="3"/>
                      <a:pt x="326" y="4"/>
                    </a:cubicBezTo>
                    <a:cubicBezTo>
                      <a:pt x="322" y="5"/>
                      <a:pt x="314" y="8"/>
                      <a:pt x="314" y="8"/>
                    </a:cubicBezTo>
                    <a:cubicBezTo>
                      <a:pt x="305" y="22"/>
                      <a:pt x="288" y="6"/>
                      <a:pt x="276" y="2"/>
                    </a:cubicBezTo>
                    <a:cubicBezTo>
                      <a:pt x="270" y="3"/>
                      <a:pt x="241" y="16"/>
                      <a:pt x="240" y="16"/>
                    </a:cubicBezTo>
                    <a:cubicBezTo>
                      <a:pt x="226" y="17"/>
                      <a:pt x="212" y="17"/>
                      <a:pt x="198" y="18"/>
                    </a:cubicBezTo>
                    <a:cubicBezTo>
                      <a:pt x="183" y="19"/>
                      <a:pt x="172" y="20"/>
                      <a:pt x="160" y="28"/>
                    </a:cubicBezTo>
                    <a:cubicBezTo>
                      <a:pt x="146" y="26"/>
                      <a:pt x="141" y="27"/>
                      <a:pt x="130" y="20"/>
                    </a:cubicBezTo>
                    <a:cubicBezTo>
                      <a:pt x="123" y="22"/>
                      <a:pt x="115" y="24"/>
                      <a:pt x="108" y="26"/>
                    </a:cubicBezTo>
                    <a:cubicBezTo>
                      <a:pt x="102" y="35"/>
                      <a:pt x="113" y="41"/>
                      <a:pt x="122" y="44"/>
                    </a:cubicBezTo>
                    <a:cubicBezTo>
                      <a:pt x="125" y="52"/>
                      <a:pt x="114" y="68"/>
                      <a:pt x="114" y="68"/>
                    </a:cubicBezTo>
                    <a:cubicBezTo>
                      <a:pt x="112" y="79"/>
                      <a:pt x="111" y="82"/>
                      <a:pt x="100" y="78"/>
                    </a:cubicBezTo>
                    <a:cubicBezTo>
                      <a:pt x="93" y="67"/>
                      <a:pt x="100" y="63"/>
                      <a:pt x="104" y="52"/>
                    </a:cubicBezTo>
                    <a:cubicBezTo>
                      <a:pt x="96" y="44"/>
                      <a:pt x="91" y="36"/>
                      <a:pt x="80" y="32"/>
                    </a:cubicBezTo>
                    <a:cubicBezTo>
                      <a:pt x="73" y="34"/>
                      <a:pt x="67" y="39"/>
                      <a:pt x="60" y="42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4" name="未知"/>
              <p:cNvSpPr>
                <a:spLocks/>
              </p:cNvSpPr>
              <p:nvPr/>
            </p:nvSpPr>
            <p:spPr bwMode="auto">
              <a:xfrm>
                <a:off x="1379" y="183"/>
                <a:ext cx="40" cy="24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8" y="20"/>
                  </a:cxn>
                  <a:cxn ang="0">
                    <a:pos x="24" y="32"/>
                  </a:cxn>
                  <a:cxn ang="0">
                    <a:pos x="42" y="30"/>
                  </a:cxn>
                  <a:cxn ang="0">
                    <a:pos x="34" y="0"/>
                  </a:cxn>
                </a:cxnLst>
                <a:rect l="0" t="0" r="r" b="b"/>
                <a:pathLst>
                  <a:path w="52" h="32">
                    <a:moveTo>
                      <a:pt x="34" y="0"/>
                    </a:moveTo>
                    <a:cubicBezTo>
                      <a:pt x="30" y="12"/>
                      <a:pt x="19" y="16"/>
                      <a:pt x="8" y="20"/>
                    </a:cubicBezTo>
                    <a:cubicBezTo>
                      <a:pt x="0" y="32"/>
                      <a:pt x="14" y="31"/>
                      <a:pt x="24" y="32"/>
                    </a:cubicBezTo>
                    <a:cubicBezTo>
                      <a:pt x="30" y="31"/>
                      <a:pt x="36" y="32"/>
                      <a:pt x="42" y="30"/>
                    </a:cubicBezTo>
                    <a:cubicBezTo>
                      <a:pt x="52" y="26"/>
                      <a:pt x="34" y="3"/>
                      <a:pt x="34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5" name="未知"/>
              <p:cNvSpPr>
                <a:spLocks/>
              </p:cNvSpPr>
              <p:nvPr/>
            </p:nvSpPr>
            <p:spPr bwMode="auto">
              <a:xfrm>
                <a:off x="1669" y="249"/>
                <a:ext cx="131" cy="54"/>
              </a:xfrm>
              <a:custGeom>
                <a:avLst/>
                <a:gdLst/>
                <a:ahLst/>
                <a:cxnLst>
                  <a:cxn ang="0">
                    <a:pos x="102" y="8"/>
                  </a:cxn>
                  <a:cxn ang="0">
                    <a:pos x="66" y="4"/>
                  </a:cxn>
                  <a:cxn ang="0">
                    <a:pos x="54" y="0"/>
                  </a:cxn>
                  <a:cxn ang="0">
                    <a:pos x="0" y="28"/>
                  </a:cxn>
                  <a:cxn ang="0">
                    <a:pos x="28" y="40"/>
                  </a:cxn>
                  <a:cxn ang="0">
                    <a:pos x="42" y="60"/>
                  </a:cxn>
                  <a:cxn ang="0">
                    <a:pos x="66" y="68"/>
                  </a:cxn>
                  <a:cxn ang="0">
                    <a:pos x="78" y="72"/>
                  </a:cxn>
                  <a:cxn ang="0">
                    <a:pos x="130" y="60"/>
                  </a:cxn>
                  <a:cxn ang="0">
                    <a:pos x="172" y="44"/>
                  </a:cxn>
                  <a:cxn ang="0">
                    <a:pos x="148" y="18"/>
                  </a:cxn>
                  <a:cxn ang="0">
                    <a:pos x="136" y="4"/>
                  </a:cxn>
                  <a:cxn ang="0">
                    <a:pos x="102" y="8"/>
                  </a:cxn>
                </a:cxnLst>
                <a:rect l="0" t="0" r="r" b="b"/>
                <a:pathLst>
                  <a:path w="172" h="72">
                    <a:moveTo>
                      <a:pt x="102" y="8"/>
                    </a:moveTo>
                    <a:cubicBezTo>
                      <a:pt x="89" y="12"/>
                      <a:pt x="78" y="8"/>
                      <a:pt x="66" y="4"/>
                    </a:cubicBezTo>
                    <a:cubicBezTo>
                      <a:pt x="62" y="3"/>
                      <a:pt x="54" y="0"/>
                      <a:pt x="54" y="0"/>
                    </a:cubicBezTo>
                    <a:cubicBezTo>
                      <a:pt x="38" y="5"/>
                      <a:pt x="12" y="16"/>
                      <a:pt x="0" y="28"/>
                    </a:cubicBezTo>
                    <a:cubicBezTo>
                      <a:pt x="4" y="39"/>
                      <a:pt x="18" y="39"/>
                      <a:pt x="28" y="40"/>
                    </a:cubicBezTo>
                    <a:cubicBezTo>
                      <a:pt x="39" y="44"/>
                      <a:pt x="41" y="60"/>
                      <a:pt x="42" y="60"/>
                    </a:cubicBezTo>
                    <a:cubicBezTo>
                      <a:pt x="50" y="63"/>
                      <a:pt x="58" y="65"/>
                      <a:pt x="66" y="68"/>
                    </a:cubicBezTo>
                    <a:cubicBezTo>
                      <a:pt x="70" y="69"/>
                      <a:pt x="78" y="72"/>
                      <a:pt x="78" y="72"/>
                    </a:cubicBezTo>
                    <a:cubicBezTo>
                      <a:pt x="92" y="71"/>
                      <a:pt x="117" y="69"/>
                      <a:pt x="130" y="60"/>
                    </a:cubicBezTo>
                    <a:cubicBezTo>
                      <a:pt x="148" y="48"/>
                      <a:pt x="150" y="46"/>
                      <a:pt x="172" y="44"/>
                    </a:cubicBezTo>
                    <a:cubicBezTo>
                      <a:pt x="169" y="29"/>
                      <a:pt x="162" y="23"/>
                      <a:pt x="148" y="18"/>
                    </a:cubicBezTo>
                    <a:cubicBezTo>
                      <a:pt x="145" y="10"/>
                      <a:pt x="144" y="7"/>
                      <a:pt x="136" y="4"/>
                    </a:cubicBezTo>
                    <a:cubicBezTo>
                      <a:pt x="134" y="4"/>
                      <a:pt x="105" y="11"/>
                      <a:pt x="102" y="8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6" name="未知"/>
              <p:cNvSpPr>
                <a:spLocks/>
              </p:cNvSpPr>
              <p:nvPr/>
            </p:nvSpPr>
            <p:spPr bwMode="auto">
              <a:xfrm>
                <a:off x="1772" y="87"/>
                <a:ext cx="40" cy="24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8" y="20"/>
                  </a:cxn>
                  <a:cxn ang="0">
                    <a:pos x="24" y="32"/>
                  </a:cxn>
                  <a:cxn ang="0">
                    <a:pos x="42" y="30"/>
                  </a:cxn>
                  <a:cxn ang="0">
                    <a:pos x="34" y="0"/>
                  </a:cxn>
                </a:cxnLst>
                <a:rect l="0" t="0" r="r" b="b"/>
                <a:pathLst>
                  <a:path w="52" h="32">
                    <a:moveTo>
                      <a:pt x="34" y="0"/>
                    </a:moveTo>
                    <a:cubicBezTo>
                      <a:pt x="30" y="12"/>
                      <a:pt x="19" y="16"/>
                      <a:pt x="8" y="20"/>
                    </a:cubicBezTo>
                    <a:cubicBezTo>
                      <a:pt x="0" y="32"/>
                      <a:pt x="14" y="31"/>
                      <a:pt x="24" y="32"/>
                    </a:cubicBezTo>
                    <a:cubicBezTo>
                      <a:pt x="30" y="31"/>
                      <a:pt x="36" y="32"/>
                      <a:pt x="42" y="30"/>
                    </a:cubicBezTo>
                    <a:cubicBezTo>
                      <a:pt x="52" y="26"/>
                      <a:pt x="34" y="3"/>
                      <a:pt x="34" y="0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7" name="未知"/>
              <p:cNvSpPr>
                <a:spLocks/>
              </p:cNvSpPr>
              <p:nvPr/>
            </p:nvSpPr>
            <p:spPr bwMode="auto">
              <a:xfrm>
                <a:off x="1857" y="307"/>
                <a:ext cx="11" cy="15"/>
              </a:xfrm>
              <a:custGeom>
                <a:avLst/>
                <a:gdLst/>
                <a:ahLst/>
                <a:cxnLst>
                  <a:cxn ang="0">
                    <a:pos x="10" y="5"/>
                  </a:cxn>
                  <a:cxn ang="0">
                    <a:pos x="1" y="11"/>
                  </a:cxn>
                  <a:cxn ang="0">
                    <a:pos x="9" y="20"/>
                  </a:cxn>
                  <a:cxn ang="0">
                    <a:pos x="10" y="5"/>
                  </a:cxn>
                </a:cxnLst>
                <a:rect l="0" t="0" r="r" b="b"/>
                <a:pathLst>
                  <a:path w="13" h="20">
                    <a:moveTo>
                      <a:pt x="10" y="5"/>
                    </a:moveTo>
                    <a:cubicBezTo>
                      <a:pt x="3" y="0"/>
                      <a:pt x="5" y="6"/>
                      <a:pt x="1" y="11"/>
                    </a:cubicBezTo>
                    <a:cubicBezTo>
                      <a:pt x="0" y="18"/>
                      <a:pt x="2" y="19"/>
                      <a:pt x="9" y="20"/>
                    </a:cubicBezTo>
                    <a:cubicBezTo>
                      <a:pt x="13" y="14"/>
                      <a:pt x="10" y="12"/>
                      <a:pt x="10" y="5"/>
                    </a:cubicBezTo>
                    <a:close/>
                  </a:path>
                </a:pathLst>
              </a:custGeom>
              <a:solidFill>
                <a:srgbClr val="B2B2B2">
                  <a:alpha val="50000"/>
                </a:srgbClr>
              </a:solidFill>
              <a:ln w="9525" cap="flat" cmpd="sng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aphicFrame>
        <p:nvGraphicFramePr>
          <p:cNvPr id="126" name="Object 113"/>
          <p:cNvGraphicFramePr>
            <a:graphicFrameLocks noChangeAspect="1"/>
          </p:cNvGraphicFramePr>
          <p:nvPr/>
        </p:nvGraphicFramePr>
        <p:xfrm>
          <a:off x="1044575" y="2227263"/>
          <a:ext cx="1709738" cy="1752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r:id="rId3" imgW="2047875" imgH="2095398" progId="">
                  <p:embed/>
                </p:oleObj>
              </mc:Choice>
              <mc:Fallback>
                <p:oleObj r:id="rId3" imgW="2047875" imgH="2095398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44575" y="2227263"/>
                        <a:ext cx="1709738" cy="1752600"/>
                      </a:xfrm>
                      <a:prstGeom prst="rect">
                        <a:avLst/>
                      </a:prstGeom>
                      <a:noFill/>
                      <a:effectLst>
                        <a:outerShdw dist="53882" dir="2700000" algn="ctr" rotWithShape="0">
                          <a:srgbClr val="080808">
                            <a:alpha val="50000"/>
                          </a:srgbClr>
                        </a:outerShdw>
                      </a:effectLst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7" name="Object 114"/>
          <p:cNvGraphicFramePr>
            <a:graphicFrameLocks noChangeAspect="1"/>
          </p:cNvGraphicFramePr>
          <p:nvPr/>
        </p:nvGraphicFramePr>
        <p:xfrm>
          <a:off x="5997575" y="2682875"/>
          <a:ext cx="1666875" cy="16097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r:id="rId5" imgW="1990725" imgH="1923898" progId="">
                  <p:embed/>
                </p:oleObj>
              </mc:Choice>
              <mc:Fallback>
                <p:oleObj r:id="rId5" imgW="1990725" imgH="1923898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997575" y="2682875"/>
                        <a:ext cx="1666875" cy="1609725"/>
                      </a:xfrm>
                      <a:prstGeom prst="rect">
                        <a:avLst/>
                      </a:prstGeom>
                      <a:noFill/>
                      <a:effectLst>
                        <a:outerShdw dist="53882" dir="2700000" algn="ctr" rotWithShape="0">
                          <a:srgbClr val="080808">
                            <a:alpha val="50000"/>
                          </a:srgbClr>
                        </a:outerShdw>
                      </a:effectLst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8" name="Object 115"/>
          <p:cNvGraphicFramePr>
            <a:graphicFrameLocks noChangeAspect="1"/>
          </p:cNvGraphicFramePr>
          <p:nvPr/>
        </p:nvGraphicFramePr>
        <p:xfrm>
          <a:off x="3633788" y="3219450"/>
          <a:ext cx="1657350" cy="1606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r:id="rId7" imgW="1990725" imgH="1923898" progId="">
                  <p:embed/>
                </p:oleObj>
              </mc:Choice>
              <mc:Fallback>
                <p:oleObj r:id="rId7" imgW="1990725" imgH="1923898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633788" y="3219450"/>
                        <a:ext cx="1657350" cy="1606550"/>
                      </a:xfrm>
                      <a:prstGeom prst="rect">
                        <a:avLst/>
                      </a:prstGeom>
                      <a:noFill/>
                      <a:effectLst>
                        <a:outerShdw dist="53882" dir="2700000" algn="ctr" rotWithShape="0">
                          <a:srgbClr val="080808">
                            <a:alpha val="50000"/>
                          </a:srgbClr>
                        </a:outerShdw>
                      </a:effectLst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0" name="Text Box 9"/>
          <p:cNvSpPr txBox="1">
            <a:spLocks noChangeArrowheads="1"/>
          </p:cNvSpPr>
          <p:nvPr/>
        </p:nvSpPr>
        <p:spPr bwMode="auto">
          <a:xfrm>
            <a:off x="1314450" y="4918075"/>
            <a:ext cx="3124200" cy="336550"/>
          </a:xfrm>
          <a:prstGeom prst="rect">
            <a:avLst/>
          </a:prstGeom>
          <a:noFill/>
          <a:ln w="9525" cap="flat" cmpd="sng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/>
            <a:r>
              <a:rPr lang="zh-CN" altLang="en-US" sz="1600" dirty="0"/>
              <a:t>点击输入文字信息</a:t>
            </a:r>
          </a:p>
        </p:txBody>
      </p:sp>
      <p:grpSp>
        <p:nvGrpSpPr>
          <p:cNvPr id="148" name="组合 147"/>
          <p:cNvGrpSpPr/>
          <p:nvPr/>
        </p:nvGrpSpPr>
        <p:grpSpPr>
          <a:xfrm>
            <a:off x="1009650" y="4819650"/>
            <a:ext cx="7010400" cy="914400"/>
            <a:chOff x="1009650" y="4965700"/>
            <a:chExt cx="7010400" cy="914400"/>
          </a:xfrm>
        </p:grpSpPr>
        <p:sp>
          <p:nvSpPr>
            <p:cNvPr id="129" name="Line 116"/>
            <p:cNvSpPr>
              <a:spLocks noChangeShapeType="1"/>
            </p:cNvSpPr>
            <p:nvPr/>
          </p:nvSpPr>
          <p:spPr bwMode="auto">
            <a:xfrm>
              <a:off x="1009650" y="4965700"/>
              <a:ext cx="7010400" cy="0"/>
            </a:xfrm>
            <a:prstGeom prst="line">
              <a:avLst/>
            </a:prstGeom>
            <a:noFill/>
            <a:ln w="12700" cap="flat" cmpd="sng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1" name="Line 118"/>
            <p:cNvSpPr>
              <a:spLocks noChangeShapeType="1"/>
            </p:cNvSpPr>
            <p:nvPr/>
          </p:nvSpPr>
          <p:spPr bwMode="auto">
            <a:xfrm>
              <a:off x="4514850" y="4965700"/>
              <a:ext cx="0" cy="914400"/>
            </a:xfrm>
            <a:prstGeom prst="line">
              <a:avLst/>
            </a:prstGeom>
            <a:noFill/>
            <a:ln w="12700" cap="rnd" cmpd="sng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32" name="AutoShape 119"/>
          <p:cNvSpPr>
            <a:spLocks noChangeArrowheads="1"/>
          </p:cNvSpPr>
          <p:nvPr/>
        </p:nvSpPr>
        <p:spPr bwMode="auto">
          <a:xfrm>
            <a:off x="762000" y="1752600"/>
            <a:ext cx="2286000" cy="371475"/>
          </a:xfrm>
          <a:prstGeom prst="wedgeRectCallout">
            <a:avLst>
              <a:gd name="adj1" fmla="val -5833"/>
              <a:gd name="adj2" fmla="val 123505"/>
            </a:avLst>
          </a:prstGeom>
          <a:solidFill>
            <a:srgbClr val="FF6600"/>
          </a:solidFill>
          <a:ln w="19050" cap="flat" cmpd="sng">
            <a:solidFill>
              <a:srgbClr val="FFFFFF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/>
          <a:lstStyle/>
          <a:p>
            <a:pPr algn="ctr" eaLnBrk="0" hangingPunct="0"/>
            <a:r>
              <a:rPr lang="zh-CN" altLang="en-US" sz="1600" b="1">
                <a:solidFill>
                  <a:srgbClr val="FFFFFF"/>
                </a:solidFill>
              </a:rPr>
              <a:t>点击输入文字</a:t>
            </a:r>
          </a:p>
        </p:txBody>
      </p:sp>
      <p:sp>
        <p:nvSpPr>
          <p:cNvPr id="133" name="AutoShape 120"/>
          <p:cNvSpPr>
            <a:spLocks noChangeArrowheads="1"/>
          </p:cNvSpPr>
          <p:nvPr/>
        </p:nvSpPr>
        <p:spPr bwMode="auto">
          <a:xfrm>
            <a:off x="3105150" y="2743200"/>
            <a:ext cx="2381250" cy="371475"/>
          </a:xfrm>
          <a:prstGeom prst="wedgeRectCallout">
            <a:avLst>
              <a:gd name="adj1" fmla="val 13907"/>
              <a:gd name="adj2" fmla="val 124361"/>
            </a:avLst>
          </a:prstGeom>
          <a:solidFill>
            <a:srgbClr val="008000"/>
          </a:solidFill>
          <a:ln w="19050" cap="flat" cmpd="sng">
            <a:solidFill>
              <a:srgbClr val="FFFFFF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/>
          <a:lstStyle/>
          <a:p>
            <a:pPr algn="ctr" eaLnBrk="0" hangingPunct="0"/>
            <a:r>
              <a:rPr lang="zh-CN" altLang="en-US" sz="1600" b="1">
                <a:solidFill>
                  <a:srgbClr val="FFFFFF"/>
                </a:solidFill>
              </a:rPr>
              <a:t>点击输入文字</a:t>
            </a:r>
          </a:p>
        </p:txBody>
      </p:sp>
      <p:sp>
        <p:nvSpPr>
          <p:cNvPr id="134" name="AutoShape 121"/>
          <p:cNvSpPr>
            <a:spLocks noChangeArrowheads="1"/>
          </p:cNvSpPr>
          <p:nvPr/>
        </p:nvSpPr>
        <p:spPr bwMode="auto">
          <a:xfrm>
            <a:off x="6172200" y="2219325"/>
            <a:ext cx="2209800" cy="371475"/>
          </a:xfrm>
          <a:prstGeom prst="wedgeRectCallout">
            <a:avLst>
              <a:gd name="adj1" fmla="val -25694"/>
              <a:gd name="adj2" fmla="val 119231"/>
            </a:avLst>
          </a:prstGeom>
          <a:solidFill>
            <a:srgbClr val="993300"/>
          </a:solidFill>
          <a:ln w="19050" cap="flat" cmpd="sng">
            <a:solidFill>
              <a:srgbClr val="FFFFFF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/>
          <a:lstStyle/>
          <a:p>
            <a:pPr algn="ctr" eaLnBrk="0" hangingPunct="0"/>
            <a:r>
              <a:rPr lang="zh-CN" altLang="en-US" sz="1600" b="1">
                <a:solidFill>
                  <a:srgbClr val="FFFFFF"/>
                </a:solidFill>
              </a:rPr>
              <a:t>点击输入文字</a:t>
            </a:r>
          </a:p>
        </p:txBody>
      </p:sp>
      <p:sp>
        <p:nvSpPr>
          <p:cNvPr id="135" name="Oval 122"/>
          <p:cNvSpPr>
            <a:spLocks noChangeArrowheads="1"/>
          </p:cNvSpPr>
          <p:nvPr/>
        </p:nvSpPr>
        <p:spPr bwMode="auto">
          <a:xfrm>
            <a:off x="4743450" y="4948238"/>
            <a:ext cx="180975" cy="180975"/>
          </a:xfrm>
          <a:prstGeom prst="ellipse">
            <a:avLst/>
          </a:prstGeom>
          <a:solidFill>
            <a:srgbClr val="FF6600"/>
          </a:solidFill>
          <a:ln w="19050" cap="flat" cmpd="sng">
            <a:solidFill>
              <a:srgbClr val="FFFFFF"/>
            </a:solidFill>
            <a:round/>
            <a:headEnd/>
            <a:tailEnd/>
          </a:ln>
          <a:effectLst>
            <a:outerShdw dist="35921" dir="27000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136" name="Rectangle 123"/>
          <p:cNvSpPr>
            <a:spLocks noChangeArrowheads="1"/>
          </p:cNvSpPr>
          <p:nvPr/>
        </p:nvSpPr>
        <p:spPr bwMode="auto">
          <a:xfrm>
            <a:off x="4956175" y="4891088"/>
            <a:ext cx="1808163" cy="334962"/>
          </a:xfrm>
          <a:prstGeom prst="rect">
            <a:avLst/>
          </a:prstGeom>
          <a:noFill/>
          <a:ln w="9525" cap="flat" cmpd="sng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/>
            <a:r>
              <a:rPr lang="zh-CN" altLang="en-US" sz="1600" dirty="0"/>
              <a:t>点击输入文字信息</a:t>
            </a:r>
          </a:p>
        </p:txBody>
      </p:sp>
      <p:sp>
        <p:nvSpPr>
          <p:cNvPr id="137" name="Oval 124"/>
          <p:cNvSpPr>
            <a:spLocks noChangeArrowheads="1"/>
          </p:cNvSpPr>
          <p:nvPr/>
        </p:nvSpPr>
        <p:spPr bwMode="auto">
          <a:xfrm>
            <a:off x="4743450" y="5273675"/>
            <a:ext cx="180975" cy="180975"/>
          </a:xfrm>
          <a:prstGeom prst="ellipse">
            <a:avLst/>
          </a:prstGeom>
          <a:solidFill>
            <a:srgbClr val="008000"/>
          </a:solidFill>
          <a:ln w="19050" cap="flat" cmpd="sng">
            <a:solidFill>
              <a:srgbClr val="FFFFFF"/>
            </a:solidFill>
            <a:round/>
            <a:headEnd/>
            <a:tailEnd/>
          </a:ln>
          <a:effectLst>
            <a:outerShdw dist="35921" dir="27000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138" name="Rectangle 125"/>
          <p:cNvSpPr>
            <a:spLocks noChangeArrowheads="1"/>
          </p:cNvSpPr>
          <p:nvPr/>
        </p:nvSpPr>
        <p:spPr bwMode="auto">
          <a:xfrm>
            <a:off x="4956175" y="5208588"/>
            <a:ext cx="1808163" cy="334962"/>
          </a:xfrm>
          <a:prstGeom prst="rect">
            <a:avLst/>
          </a:prstGeom>
          <a:noFill/>
          <a:ln w="9525" cap="flat" cmpd="sng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/>
            <a:r>
              <a:rPr lang="zh-CN" altLang="en-US" sz="1600" dirty="0"/>
              <a:t>点击输入文字信息</a:t>
            </a:r>
          </a:p>
        </p:txBody>
      </p:sp>
      <p:sp>
        <p:nvSpPr>
          <p:cNvPr id="139" name="Oval 126"/>
          <p:cNvSpPr>
            <a:spLocks noChangeArrowheads="1"/>
          </p:cNvSpPr>
          <p:nvPr/>
        </p:nvSpPr>
        <p:spPr bwMode="auto">
          <a:xfrm>
            <a:off x="4743450" y="5595938"/>
            <a:ext cx="180975" cy="180975"/>
          </a:xfrm>
          <a:prstGeom prst="ellipse">
            <a:avLst/>
          </a:prstGeom>
          <a:solidFill>
            <a:srgbClr val="993300"/>
          </a:solidFill>
          <a:ln w="19050" cap="flat" cmpd="sng">
            <a:solidFill>
              <a:srgbClr val="FFFFFF"/>
            </a:solidFill>
            <a:round/>
            <a:headEnd/>
            <a:tailEnd/>
          </a:ln>
          <a:effectLst>
            <a:outerShdw dist="35921" dir="27000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140" name="Rectangle 127"/>
          <p:cNvSpPr>
            <a:spLocks noChangeArrowheads="1"/>
          </p:cNvSpPr>
          <p:nvPr/>
        </p:nvSpPr>
        <p:spPr bwMode="auto">
          <a:xfrm>
            <a:off x="4956175" y="5538788"/>
            <a:ext cx="1808163" cy="334962"/>
          </a:xfrm>
          <a:prstGeom prst="rect">
            <a:avLst/>
          </a:prstGeom>
          <a:noFill/>
          <a:ln w="9525" cap="flat" cmpd="sng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/>
            <a:r>
              <a:rPr lang="zh-CN" altLang="en-US" sz="1600" dirty="0"/>
              <a:t>点击输入文字信息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9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0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1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5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500"/>
                            </p:stCondLst>
                            <p:childTnLst>
                              <p:par>
                                <p:cTn id="47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000"/>
                            </p:stCondLst>
                            <p:childTnLst>
                              <p:par>
                                <p:cTn id="52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0"/>
                            </p:stCondLst>
                            <p:childTnLst>
                              <p:par>
                                <p:cTn id="57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6000"/>
                            </p:stCondLst>
                            <p:childTnLst>
                              <p:par>
                                <p:cTn id="62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6500"/>
                            </p:stCondLst>
                            <p:childTnLst>
                              <p:par>
                                <p:cTn id="67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7000"/>
                            </p:stCondLst>
                            <p:childTnLst>
                              <p:par>
                                <p:cTn id="72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7500"/>
                            </p:stCondLst>
                            <p:childTnLst>
                              <p:par>
                                <p:cTn id="77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0" grpId="0"/>
      <p:bldP spid="132" grpId="0" animBg="1"/>
      <p:bldP spid="133" grpId="0" animBg="1"/>
      <p:bldP spid="134" grpId="0" animBg="1"/>
      <p:bldP spid="135" grpId="0" animBg="1"/>
      <p:bldP spid="136" grpId="0"/>
      <p:bldP spid="137" grpId="0" animBg="1"/>
      <p:bldP spid="138" grpId="0"/>
      <p:bldP spid="139" grpId="0" animBg="1"/>
      <p:bldP spid="140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utoShape 60"/>
          <p:cNvSpPr>
            <a:spLocks noChangeArrowheads="1"/>
          </p:cNvSpPr>
          <p:nvPr/>
        </p:nvSpPr>
        <p:spPr bwMode="auto">
          <a:xfrm>
            <a:off x="1357290" y="2633030"/>
            <a:ext cx="4967310" cy="2160000"/>
          </a:xfrm>
          <a:prstGeom prst="rightArrow">
            <a:avLst>
              <a:gd name="adj1" fmla="val 68556"/>
              <a:gd name="adj2" fmla="val 38969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圆角矩形 25"/>
          <p:cNvSpPr/>
          <p:nvPr/>
        </p:nvSpPr>
        <p:spPr bwMode="auto">
          <a:xfrm>
            <a:off x="1860550" y="4117975"/>
            <a:ext cx="3168650" cy="1368425"/>
          </a:xfrm>
          <a:prstGeom prst="roundRect">
            <a:avLst>
              <a:gd name="adj" fmla="val 7848"/>
            </a:avLst>
          </a:prstGeom>
          <a:gradFill flip="none" rotWithShape="1">
            <a:gsLst>
              <a:gs pos="3000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2700000" scaled="1"/>
            <a:tileRect/>
          </a:gradFill>
          <a:ln w="38100">
            <a:gradFill>
              <a:gsLst>
                <a:gs pos="0">
                  <a:srgbClr val="00B0F0"/>
                </a:gs>
                <a:gs pos="100000">
                  <a:srgbClr val="00206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65100" h="1270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7" name="矩形 87"/>
          <p:cNvSpPr>
            <a:spLocks noChangeArrowheads="1"/>
          </p:cNvSpPr>
          <p:nvPr/>
        </p:nvSpPr>
        <p:spPr bwMode="auto">
          <a:xfrm>
            <a:off x="1974626" y="4706610"/>
            <a:ext cx="2940498" cy="524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点击添加文本 点击添加文本</a:t>
            </a:r>
          </a:p>
          <a:p>
            <a:pPr algn="ctr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点击添加文本 点击添加文本</a:t>
            </a:r>
          </a:p>
        </p:txBody>
      </p:sp>
      <p:sp>
        <p:nvSpPr>
          <p:cNvPr id="29" name="圆角矩形 28"/>
          <p:cNvSpPr/>
          <p:nvPr/>
        </p:nvSpPr>
        <p:spPr bwMode="auto">
          <a:xfrm>
            <a:off x="1860550" y="1962150"/>
            <a:ext cx="3168650" cy="1366837"/>
          </a:xfrm>
          <a:prstGeom prst="roundRect">
            <a:avLst>
              <a:gd name="adj" fmla="val 7848"/>
            </a:avLst>
          </a:prstGeom>
          <a:gradFill flip="none" rotWithShape="1">
            <a:gsLst>
              <a:gs pos="3000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2700000" scaled="1"/>
            <a:tileRect/>
          </a:gradFill>
          <a:ln w="38100">
            <a:gradFill flip="none" rotWithShape="1">
              <a:gsLst>
                <a:gs pos="0">
                  <a:srgbClr val="00B0F0"/>
                </a:gs>
                <a:gs pos="100000">
                  <a:srgbClr val="002060"/>
                </a:gs>
              </a:gsLst>
              <a:lin ang="16200000" scaled="1"/>
              <a:tileRect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65100" h="1270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" name="矩形 87"/>
          <p:cNvSpPr>
            <a:spLocks noChangeArrowheads="1"/>
          </p:cNvSpPr>
          <p:nvPr/>
        </p:nvSpPr>
        <p:spPr bwMode="auto">
          <a:xfrm>
            <a:off x="1890149" y="2209438"/>
            <a:ext cx="3109452" cy="510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点击添加文本 点击添加文本</a:t>
            </a:r>
          </a:p>
          <a:p>
            <a:pPr algn="ctr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点击添加文本 点击添加文本</a:t>
            </a:r>
          </a:p>
        </p:txBody>
      </p:sp>
      <p:grpSp>
        <p:nvGrpSpPr>
          <p:cNvPr id="31" name="组合 26"/>
          <p:cNvGrpSpPr>
            <a:grpSpLocks noChangeAspect="1"/>
          </p:cNvGrpSpPr>
          <p:nvPr/>
        </p:nvGrpSpPr>
        <p:grpSpPr bwMode="auto">
          <a:xfrm>
            <a:off x="2224087" y="3071812"/>
            <a:ext cx="2443163" cy="554038"/>
            <a:chOff x="855540" y="3513439"/>
            <a:chExt cx="1399872" cy="987727"/>
          </a:xfrm>
        </p:grpSpPr>
        <p:sp>
          <p:nvSpPr>
            <p:cNvPr id="32" name="圆角矩形 31"/>
            <p:cNvSpPr/>
            <p:nvPr/>
          </p:nvSpPr>
          <p:spPr>
            <a:xfrm>
              <a:off x="855540" y="3513439"/>
              <a:ext cx="1399872" cy="987727"/>
            </a:xfrm>
            <a:prstGeom prst="roundRect">
              <a:avLst>
                <a:gd name="adj" fmla="val 10568"/>
              </a:avLst>
            </a:prstGeom>
            <a:gradFill flip="none" rotWithShape="1">
              <a:gsLst>
                <a:gs pos="0">
                  <a:srgbClr val="00DFF6"/>
                </a:gs>
                <a:gs pos="90000">
                  <a:srgbClr val="002774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3" name="矩形 14"/>
            <p:cNvSpPr>
              <a:spLocks noChangeArrowheads="1"/>
            </p:cNvSpPr>
            <p:nvPr/>
          </p:nvSpPr>
          <p:spPr bwMode="auto">
            <a:xfrm>
              <a:off x="1004859" y="3705518"/>
              <a:ext cx="1101235" cy="6035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kumimoji="1"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29997" dir="5400000" sy="-100000" algn="bl" rotWithShape="0"/>
                  </a:effectLst>
                  <a:latin typeface="微软雅黑" pitchFamily="34" charset="-122"/>
                  <a:ea typeface="微软雅黑" pitchFamily="34" charset="-122"/>
                </a:rPr>
                <a:t>添加标题</a:t>
              </a:r>
            </a:p>
          </p:txBody>
        </p:sp>
      </p:grpSp>
      <p:grpSp>
        <p:nvGrpSpPr>
          <p:cNvPr id="34" name="组合 26"/>
          <p:cNvGrpSpPr>
            <a:grpSpLocks noChangeAspect="1"/>
          </p:cNvGrpSpPr>
          <p:nvPr/>
        </p:nvGrpSpPr>
        <p:grpSpPr bwMode="auto">
          <a:xfrm>
            <a:off x="2224087" y="3829050"/>
            <a:ext cx="2443163" cy="555625"/>
            <a:chOff x="855540" y="3513439"/>
            <a:chExt cx="1399872" cy="987727"/>
          </a:xfrm>
        </p:grpSpPr>
        <p:sp>
          <p:nvSpPr>
            <p:cNvPr id="35" name="圆角矩形 34"/>
            <p:cNvSpPr/>
            <p:nvPr/>
          </p:nvSpPr>
          <p:spPr>
            <a:xfrm>
              <a:off x="855540" y="3513439"/>
              <a:ext cx="1399872" cy="987727"/>
            </a:xfrm>
            <a:prstGeom prst="roundRect">
              <a:avLst>
                <a:gd name="adj" fmla="val 10568"/>
              </a:avLst>
            </a:prstGeom>
            <a:gradFill flip="none" rotWithShape="1">
              <a:gsLst>
                <a:gs pos="0">
                  <a:srgbClr val="00DFF6"/>
                </a:gs>
                <a:gs pos="90000">
                  <a:srgbClr val="002774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6" name="矩形 35"/>
            <p:cNvSpPr>
              <a:spLocks noChangeArrowheads="1"/>
            </p:cNvSpPr>
            <p:nvPr/>
          </p:nvSpPr>
          <p:spPr bwMode="auto">
            <a:xfrm>
              <a:off x="930021" y="3706380"/>
              <a:ext cx="1250910" cy="6018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kumimoji="1"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29997" dir="5400000" sy="-100000" algn="bl" rotWithShape="0"/>
                  </a:effectLst>
                  <a:latin typeface="微软雅黑" pitchFamily="34" charset="-122"/>
                  <a:ea typeface="微软雅黑" pitchFamily="34" charset="-122"/>
                </a:rPr>
                <a:t>添加标题</a:t>
              </a:r>
            </a:p>
          </p:txBody>
        </p:sp>
      </p:grpSp>
      <p:grpSp>
        <p:nvGrpSpPr>
          <p:cNvPr id="37" name="组合 43"/>
          <p:cNvGrpSpPr>
            <a:grpSpLocks/>
          </p:cNvGrpSpPr>
          <p:nvPr/>
        </p:nvGrpSpPr>
        <p:grpSpPr bwMode="auto">
          <a:xfrm>
            <a:off x="5970348" y="2722562"/>
            <a:ext cx="1979612" cy="1981200"/>
            <a:chOff x="5217600" y="3058600"/>
            <a:chExt cx="1116000" cy="1116000"/>
          </a:xfrm>
        </p:grpSpPr>
        <p:sp>
          <p:nvSpPr>
            <p:cNvPr id="38" name="Oval 2"/>
            <p:cNvSpPr>
              <a:spLocks noChangeAspect="1" noChangeArrowheads="1"/>
            </p:cNvSpPr>
            <p:nvPr/>
          </p:nvSpPr>
          <p:spPr bwMode="auto">
            <a:xfrm>
              <a:off x="5217600" y="3058600"/>
              <a:ext cx="1116000" cy="111600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9" name="椭圆 38"/>
            <p:cNvSpPr>
              <a:spLocks/>
            </p:cNvSpPr>
            <p:nvPr/>
          </p:nvSpPr>
          <p:spPr>
            <a:xfrm rot="19388639">
              <a:off x="5222074" y="3126562"/>
              <a:ext cx="756231" cy="540115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srgbClr val="FFFFFF"/>
                </a:solidFill>
                <a:ea typeface="微软雅黑" pitchFamily="34" charset="-122"/>
              </a:endParaRPr>
            </a:p>
          </p:txBody>
        </p:sp>
        <p:sp>
          <p:nvSpPr>
            <p:cNvPr id="40" name="椭圆 39"/>
            <p:cNvSpPr/>
            <p:nvPr/>
          </p:nvSpPr>
          <p:spPr>
            <a:xfrm>
              <a:off x="5327131" y="3179241"/>
              <a:ext cx="846138" cy="849318"/>
            </a:xfrm>
            <a:prstGeom prst="ellipse">
              <a:avLst/>
            </a:prstGeom>
            <a:gradFill flip="none" rotWithShape="1">
              <a:gsLst>
                <a:gs pos="10000">
                  <a:srgbClr val="FFC000">
                    <a:alpha val="6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srgbClr val="FFFFFF"/>
                </a:solidFill>
                <a:ea typeface="微软雅黑" pitchFamily="34" charset="-122"/>
              </a:endParaRPr>
            </a:p>
          </p:txBody>
        </p:sp>
      </p:grpSp>
      <p:sp>
        <p:nvSpPr>
          <p:cNvPr id="41" name="Text Box 29"/>
          <p:cNvSpPr txBox="1">
            <a:spLocks noChangeArrowheads="1"/>
          </p:cNvSpPr>
          <p:nvPr/>
        </p:nvSpPr>
        <p:spPr bwMode="gray">
          <a:xfrm>
            <a:off x="6194324" y="3297532"/>
            <a:ext cx="1531794" cy="83099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20000"/>
              <a:defRPr/>
            </a:pPr>
            <a:r>
              <a:rPr lang="zh-CN" altLang="en-US" sz="2400" spc="300" dirty="0">
                <a:ln w="1270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solidFill>
                  <a:srgbClr val="FFFF99"/>
                </a:solidFill>
                <a:effectLst>
                  <a:glow rad="45500">
                    <a:srgbClr val="00B0F0">
                      <a:alpha val="35000"/>
                    </a:srgbClr>
                  </a:glow>
                </a:effectLst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500"/>
                            </p:stCondLst>
                            <p:childTnLst>
                              <p:par>
                                <p:cTn id="31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4500"/>
                            </p:stCondLst>
                            <p:childTnLst>
                              <p:par>
                                <p:cTn id="36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0"/>
                            </p:stCondLst>
                            <p:childTnLst>
                              <p:par>
                                <p:cTn id="43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6" grpId="0" animBg="1"/>
      <p:bldP spid="27" grpId="0"/>
      <p:bldP spid="29" grpId="0" animBg="1"/>
      <p:bldP spid="30" grpId="0"/>
      <p:bldP spid="41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23"/>
          <p:cNvGrpSpPr>
            <a:grpSpLocks/>
          </p:cNvGrpSpPr>
          <p:nvPr/>
        </p:nvGrpSpPr>
        <p:grpSpPr bwMode="auto">
          <a:xfrm>
            <a:off x="3032498" y="1676400"/>
            <a:ext cx="3051175" cy="4016375"/>
            <a:chOff x="1779" y="479"/>
            <a:chExt cx="2087" cy="2747"/>
          </a:xfrm>
        </p:grpSpPr>
        <p:sp>
          <p:nvSpPr>
            <p:cNvPr id="38" name="Oval 24"/>
            <p:cNvSpPr>
              <a:spLocks noChangeArrowheads="1"/>
            </p:cNvSpPr>
            <p:nvPr/>
          </p:nvSpPr>
          <p:spPr bwMode="gray">
            <a:xfrm>
              <a:off x="1779" y="824"/>
              <a:ext cx="2080" cy="2066"/>
            </a:xfrm>
            <a:prstGeom prst="ellipse">
              <a:avLst/>
            </a:prstGeom>
            <a:gradFill rotWithShape="1">
              <a:gsLst>
                <a:gs pos="0">
                  <a:schemeClr val="bg1">
                    <a:gamma/>
                    <a:shade val="0"/>
                    <a:invGamma/>
                    <a:alpha val="27000"/>
                  </a:schemeClr>
                </a:gs>
                <a:gs pos="50000">
                  <a:schemeClr val="bg1">
                    <a:alpha val="0"/>
                  </a:schemeClr>
                </a:gs>
                <a:gs pos="100000">
                  <a:schemeClr val="bg1">
                    <a:gamma/>
                    <a:shade val="0"/>
                    <a:invGamma/>
                    <a:alpha val="27000"/>
                  </a:schemeClr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pic>
          <p:nvPicPr>
            <p:cNvPr id="39" name="Picture 25" descr="aa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1779" y="821"/>
              <a:ext cx="2087" cy="20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0" name="Arc 26"/>
            <p:cNvSpPr>
              <a:spLocks/>
            </p:cNvSpPr>
            <p:nvPr/>
          </p:nvSpPr>
          <p:spPr bwMode="ltGray">
            <a:xfrm>
              <a:off x="2802" y="821"/>
              <a:ext cx="835" cy="1040"/>
            </a:xfrm>
            <a:custGeom>
              <a:avLst/>
              <a:gdLst>
                <a:gd name="T0" fmla="*/ 0 w 17369"/>
                <a:gd name="T1" fmla="*/ 0 h 21600"/>
                <a:gd name="T2" fmla="*/ 835 w 17369"/>
                <a:gd name="T3" fmla="*/ 401 h 21600"/>
                <a:gd name="T4" fmla="*/ 15 w 17369"/>
                <a:gd name="T5" fmla="*/ 1040 h 21600"/>
                <a:gd name="T6" fmla="*/ 0 60000 65536"/>
                <a:gd name="T7" fmla="*/ 0 60000 65536"/>
                <a:gd name="T8" fmla="*/ 0 60000 65536"/>
                <a:gd name="T9" fmla="*/ 0 w 17369"/>
                <a:gd name="T10" fmla="*/ 0 h 21600"/>
                <a:gd name="T11" fmla="*/ 17369 w 17369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369" h="21600" fill="none" extrusionOk="0">
                  <a:moveTo>
                    <a:pt x="0" y="2"/>
                  </a:moveTo>
                  <a:cubicBezTo>
                    <a:pt x="107" y="0"/>
                    <a:pt x="214" y="-1"/>
                    <a:pt x="322" y="0"/>
                  </a:cubicBezTo>
                  <a:cubicBezTo>
                    <a:pt x="6985" y="0"/>
                    <a:pt x="13276" y="3075"/>
                    <a:pt x="17368" y="8335"/>
                  </a:cubicBezTo>
                </a:path>
                <a:path w="17369" h="21600" stroke="0" extrusionOk="0">
                  <a:moveTo>
                    <a:pt x="0" y="2"/>
                  </a:moveTo>
                  <a:cubicBezTo>
                    <a:pt x="107" y="0"/>
                    <a:pt x="214" y="-1"/>
                    <a:pt x="322" y="0"/>
                  </a:cubicBezTo>
                  <a:cubicBezTo>
                    <a:pt x="6985" y="0"/>
                    <a:pt x="13276" y="3075"/>
                    <a:pt x="17368" y="8335"/>
                  </a:cubicBezTo>
                  <a:lnTo>
                    <a:pt x="322" y="21600"/>
                  </a:lnTo>
                  <a:close/>
                </a:path>
              </a:pathLst>
            </a:custGeom>
            <a:solidFill>
              <a:schemeClr val="accent2">
                <a:alpha val="50195"/>
              </a:schemeClr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1" name="Arc 27"/>
            <p:cNvSpPr>
              <a:spLocks/>
            </p:cNvSpPr>
            <p:nvPr/>
          </p:nvSpPr>
          <p:spPr bwMode="gray">
            <a:xfrm rot="5400000">
              <a:off x="2584" y="1449"/>
              <a:ext cx="1519" cy="1039"/>
            </a:xfrm>
            <a:custGeom>
              <a:avLst/>
              <a:gdLst>
                <a:gd name="T0" fmla="*/ 0 w 31543"/>
                <a:gd name="T1" fmla="*/ 229 h 21600"/>
                <a:gd name="T2" fmla="*/ 1519 w 31543"/>
                <a:gd name="T3" fmla="*/ 465 h 21600"/>
                <a:gd name="T4" fmla="*/ 652 w 31543"/>
                <a:gd name="T5" fmla="*/ 1039 h 21600"/>
                <a:gd name="T6" fmla="*/ 0 60000 65536"/>
                <a:gd name="T7" fmla="*/ 0 60000 65536"/>
                <a:gd name="T8" fmla="*/ 0 60000 65536"/>
                <a:gd name="T9" fmla="*/ 0 w 31543"/>
                <a:gd name="T10" fmla="*/ 0 h 21600"/>
                <a:gd name="T11" fmla="*/ 31543 w 31543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1543" h="21600" fill="none" extrusionOk="0">
                  <a:moveTo>
                    <a:pt x="0" y="4768"/>
                  </a:moveTo>
                  <a:cubicBezTo>
                    <a:pt x="3837" y="1682"/>
                    <a:pt x="8613" y="-1"/>
                    <a:pt x="13537" y="0"/>
                  </a:cubicBezTo>
                  <a:cubicBezTo>
                    <a:pt x="20780" y="0"/>
                    <a:pt x="27542" y="3631"/>
                    <a:pt x="31543" y="9669"/>
                  </a:cubicBezTo>
                </a:path>
                <a:path w="31543" h="21600" stroke="0" extrusionOk="0">
                  <a:moveTo>
                    <a:pt x="0" y="4768"/>
                  </a:moveTo>
                  <a:cubicBezTo>
                    <a:pt x="3837" y="1682"/>
                    <a:pt x="8613" y="-1"/>
                    <a:pt x="13537" y="0"/>
                  </a:cubicBezTo>
                  <a:cubicBezTo>
                    <a:pt x="20780" y="0"/>
                    <a:pt x="27542" y="3631"/>
                    <a:pt x="31543" y="9669"/>
                  </a:cubicBezTo>
                  <a:lnTo>
                    <a:pt x="13537" y="21600"/>
                  </a:lnTo>
                  <a:close/>
                </a:path>
              </a:pathLst>
            </a:custGeom>
            <a:solidFill>
              <a:schemeClr val="accent1">
                <a:alpha val="50195"/>
              </a:scheme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2" name="Arc 28"/>
            <p:cNvSpPr>
              <a:spLocks/>
            </p:cNvSpPr>
            <p:nvPr/>
          </p:nvSpPr>
          <p:spPr bwMode="black">
            <a:xfrm rot="5400000" flipH="1" flipV="1">
              <a:off x="1291" y="1322"/>
              <a:ext cx="2069" cy="1080"/>
            </a:xfrm>
            <a:custGeom>
              <a:avLst/>
              <a:gdLst>
                <a:gd name="T0" fmla="*/ 1 w 43197"/>
                <a:gd name="T1" fmla="*/ 1081 h 22479"/>
                <a:gd name="T2" fmla="*/ 2069 w 43197"/>
                <a:gd name="T3" fmla="*/ 1020 h 22479"/>
                <a:gd name="T4" fmla="*/ 1035 w 43197"/>
                <a:gd name="T5" fmla="*/ 1039 h 22479"/>
                <a:gd name="T6" fmla="*/ 0 60000 65536"/>
                <a:gd name="T7" fmla="*/ 0 60000 65536"/>
                <a:gd name="T8" fmla="*/ 0 60000 65536"/>
                <a:gd name="T9" fmla="*/ 0 w 43197"/>
                <a:gd name="T10" fmla="*/ 0 h 22479"/>
                <a:gd name="T11" fmla="*/ 43197 w 43197"/>
                <a:gd name="T12" fmla="*/ 22479 h 2247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197" h="22479" fill="none" extrusionOk="0">
                  <a:moveTo>
                    <a:pt x="17" y="22479"/>
                  </a:moveTo>
                  <a:cubicBezTo>
                    <a:pt x="5" y="22186"/>
                    <a:pt x="0" y="21893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377" y="-1"/>
                    <a:pt x="42984" y="9435"/>
                    <a:pt x="43196" y="21211"/>
                  </a:cubicBezTo>
                </a:path>
                <a:path w="43197" h="22479" stroke="0" extrusionOk="0">
                  <a:moveTo>
                    <a:pt x="17" y="22479"/>
                  </a:moveTo>
                  <a:cubicBezTo>
                    <a:pt x="5" y="22186"/>
                    <a:pt x="0" y="21893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377" y="-1"/>
                    <a:pt x="42984" y="9435"/>
                    <a:pt x="43196" y="21211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folHlink">
                <a:alpha val="50195"/>
              </a:scheme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grpSp>
          <p:nvGrpSpPr>
            <p:cNvPr id="43" name="Group 29"/>
            <p:cNvGrpSpPr>
              <a:grpSpLocks/>
            </p:cNvGrpSpPr>
            <p:nvPr/>
          </p:nvGrpSpPr>
          <p:grpSpPr bwMode="auto">
            <a:xfrm rot="3173304" flipV="1">
              <a:off x="1589" y="2362"/>
              <a:ext cx="1437" cy="288"/>
              <a:chOff x="1565" y="2570"/>
              <a:chExt cx="1118" cy="279"/>
            </a:xfrm>
          </p:grpSpPr>
          <p:sp>
            <p:nvSpPr>
              <p:cNvPr id="61" name="AutoShape 30"/>
              <p:cNvSpPr>
                <a:spLocks noChangeArrowheads="1"/>
              </p:cNvSpPr>
              <p:nvPr/>
            </p:nvSpPr>
            <p:spPr bwMode="white">
              <a:xfrm rot="5263130">
                <a:off x="1859" y="2276"/>
                <a:ext cx="227" cy="816"/>
              </a:xfrm>
              <a:prstGeom prst="moon">
                <a:avLst>
                  <a:gd name="adj" fmla="val 49773"/>
                </a:avLst>
              </a:prstGeom>
              <a:solidFill>
                <a:srgbClr val="FFFFFF">
                  <a:alpha val="5882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>
                  <a:solidFill>
                    <a:schemeClr val="bg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62" name="AutoShape 31"/>
              <p:cNvSpPr>
                <a:spLocks noChangeArrowheads="1"/>
              </p:cNvSpPr>
              <p:nvPr/>
            </p:nvSpPr>
            <p:spPr bwMode="white">
              <a:xfrm rot="6078281">
                <a:off x="1996" y="2276"/>
                <a:ext cx="227" cy="816"/>
              </a:xfrm>
              <a:prstGeom prst="moon">
                <a:avLst>
                  <a:gd name="adj" fmla="val 49773"/>
                </a:avLst>
              </a:prstGeom>
              <a:solidFill>
                <a:srgbClr val="FFFFFF">
                  <a:alpha val="5882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>
                  <a:solidFill>
                    <a:schemeClr val="bg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63" name="AutoShape 32"/>
              <p:cNvSpPr>
                <a:spLocks noChangeArrowheads="1"/>
              </p:cNvSpPr>
              <p:nvPr/>
            </p:nvSpPr>
            <p:spPr bwMode="white">
              <a:xfrm rot="6373927">
                <a:off x="2072" y="2299"/>
                <a:ext cx="227" cy="814"/>
              </a:xfrm>
              <a:prstGeom prst="moon">
                <a:avLst>
                  <a:gd name="adj" fmla="val 49773"/>
                </a:avLst>
              </a:prstGeom>
              <a:solidFill>
                <a:srgbClr val="FFFFFF">
                  <a:alpha val="5882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>
                  <a:solidFill>
                    <a:schemeClr val="bg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64" name="AutoShape 33"/>
              <p:cNvSpPr>
                <a:spLocks noChangeArrowheads="1"/>
              </p:cNvSpPr>
              <p:nvPr/>
            </p:nvSpPr>
            <p:spPr bwMode="white">
              <a:xfrm rot="6906312">
                <a:off x="2161" y="2328"/>
                <a:ext cx="227" cy="816"/>
              </a:xfrm>
              <a:prstGeom prst="moon">
                <a:avLst>
                  <a:gd name="adj" fmla="val 49773"/>
                </a:avLst>
              </a:prstGeom>
              <a:solidFill>
                <a:srgbClr val="FFFFFF">
                  <a:alpha val="5882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>
                  <a:solidFill>
                    <a:schemeClr val="bg2">
                      <a:lumMod val="50000"/>
                    </a:schemeClr>
                  </a:solidFill>
                </a:endParaRPr>
              </a:p>
            </p:txBody>
          </p:sp>
        </p:grpSp>
        <p:sp>
          <p:nvSpPr>
            <p:cNvPr id="44" name="Arc 34"/>
            <p:cNvSpPr>
              <a:spLocks/>
            </p:cNvSpPr>
            <p:nvPr/>
          </p:nvSpPr>
          <p:spPr bwMode="ltGray">
            <a:xfrm rot="9670427">
              <a:off x="2697" y="1835"/>
              <a:ext cx="561" cy="1040"/>
            </a:xfrm>
            <a:custGeom>
              <a:avLst/>
              <a:gdLst>
                <a:gd name="T0" fmla="*/ 0 w 11660"/>
                <a:gd name="T1" fmla="*/ 35 h 21600"/>
                <a:gd name="T2" fmla="*/ 561 w 11660"/>
                <a:gd name="T3" fmla="*/ 42 h 21600"/>
                <a:gd name="T4" fmla="*/ 268 w 11660"/>
                <a:gd name="T5" fmla="*/ 1040 h 21600"/>
                <a:gd name="T6" fmla="*/ 0 60000 65536"/>
                <a:gd name="T7" fmla="*/ 0 60000 65536"/>
                <a:gd name="T8" fmla="*/ 0 60000 65536"/>
                <a:gd name="T9" fmla="*/ 0 w 11660"/>
                <a:gd name="T10" fmla="*/ 0 h 21600"/>
                <a:gd name="T11" fmla="*/ 11660 w 1166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1660" h="21600" fill="none" extrusionOk="0">
                  <a:moveTo>
                    <a:pt x="-1" y="727"/>
                  </a:moveTo>
                  <a:cubicBezTo>
                    <a:pt x="1813" y="244"/>
                    <a:pt x="3682" y="-1"/>
                    <a:pt x="5560" y="0"/>
                  </a:cubicBezTo>
                  <a:cubicBezTo>
                    <a:pt x="7624" y="0"/>
                    <a:pt x="9679" y="296"/>
                    <a:pt x="11659" y="879"/>
                  </a:cubicBezTo>
                </a:path>
                <a:path w="11660" h="21600" stroke="0" extrusionOk="0">
                  <a:moveTo>
                    <a:pt x="-1" y="727"/>
                  </a:moveTo>
                  <a:cubicBezTo>
                    <a:pt x="1813" y="244"/>
                    <a:pt x="3682" y="-1"/>
                    <a:pt x="5560" y="0"/>
                  </a:cubicBezTo>
                  <a:cubicBezTo>
                    <a:pt x="7624" y="0"/>
                    <a:pt x="9679" y="296"/>
                    <a:pt x="11659" y="879"/>
                  </a:cubicBezTo>
                  <a:lnTo>
                    <a:pt x="5560" y="21600"/>
                  </a:lnTo>
                  <a:close/>
                </a:path>
              </a:pathLst>
            </a:custGeom>
            <a:solidFill>
              <a:schemeClr val="hlink">
                <a:alpha val="50195"/>
              </a:scheme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5" name="Oval 35"/>
            <p:cNvSpPr>
              <a:spLocks noChangeArrowheads="1"/>
            </p:cNvSpPr>
            <p:nvPr/>
          </p:nvSpPr>
          <p:spPr bwMode="white">
            <a:xfrm>
              <a:off x="2465" y="1514"/>
              <a:ext cx="708" cy="70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46" name="Text Box 36"/>
            <p:cNvSpPr txBox="1">
              <a:spLocks noChangeArrowheads="1"/>
            </p:cNvSpPr>
            <p:nvPr/>
          </p:nvSpPr>
          <p:spPr bwMode="white">
            <a:xfrm>
              <a:off x="1802" y="1703"/>
              <a:ext cx="616" cy="31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400" b="1">
                  <a:solidFill>
                    <a:schemeClr val="bg2">
                      <a:lumMod val="50000"/>
                    </a:schemeClr>
                  </a:solidFill>
                </a:rPr>
                <a:t>50%</a:t>
              </a:r>
            </a:p>
          </p:txBody>
        </p:sp>
        <p:sp>
          <p:nvSpPr>
            <p:cNvPr id="47" name="Text Box 37"/>
            <p:cNvSpPr txBox="1">
              <a:spLocks noChangeArrowheads="1"/>
            </p:cNvSpPr>
            <p:nvPr/>
          </p:nvSpPr>
          <p:spPr bwMode="auto">
            <a:xfrm>
              <a:off x="3304" y="1826"/>
              <a:ext cx="477" cy="27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000" b="1">
                  <a:solidFill>
                    <a:schemeClr val="bg2">
                      <a:lumMod val="50000"/>
                    </a:schemeClr>
                  </a:solidFill>
                </a:rPr>
                <a:t>24%</a:t>
              </a:r>
            </a:p>
          </p:txBody>
        </p:sp>
        <p:sp>
          <p:nvSpPr>
            <p:cNvPr id="48" name="Text Box 38"/>
            <p:cNvSpPr txBox="1">
              <a:spLocks noChangeArrowheads="1"/>
            </p:cNvSpPr>
            <p:nvPr/>
          </p:nvSpPr>
          <p:spPr bwMode="auto">
            <a:xfrm>
              <a:off x="2841" y="1103"/>
              <a:ext cx="478" cy="2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000" b="1">
                  <a:solidFill>
                    <a:schemeClr val="bg2">
                      <a:lumMod val="50000"/>
                    </a:schemeClr>
                  </a:solidFill>
                </a:rPr>
                <a:t>16%</a:t>
              </a:r>
            </a:p>
          </p:txBody>
        </p:sp>
        <p:sp>
          <p:nvSpPr>
            <p:cNvPr id="49" name="Text Box 39"/>
            <p:cNvSpPr txBox="1">
              <a:spLocks noChangeArrowheads="1"/>
            </p:cNvSpPr>
            <p:nvPr/>
          </p:nvSpPr>
          <p:spPr bwMode="black">
            <a:xfrm>
              <a:off x="2841" y="2446"/>
              <a:ext cx="478" cy="27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000" b="1">
                  <a:solidFill>
                    <a:schemeClr val="bg2">
                      <a:lumMod val="50000"/>
                    </a:schemeClr>
                  </a:solidFill>
                </a:rPr>
                <a:t>10%</a:t>
              </a:r>
            </a:p>
          </p:txBody>
        </p:sp>
        <p:grpSp>
          <p:nvGrpSpPr>
            <p:cNvPr id="50" name="Group 40"/>
            <p:cNvGrpSpPr>
              <a:grpSpLocks/>
            </p:cNvGrpSpPr>
            <p:nvPr/>
          </p:nvGrpSpPr>
          <p:grpSpPr bwMode="auto">
            <a:xfrm rot="14245961" flipV="1">
              <a:off x="2659" y="1016"/>
              <a:ext cx="1371" cy="313"/>
              <a:chOff x="2532" y="1045"/>
              <a:chExt cx="888" cy="253"/>
            </a:xfrm>
          </p:grpSpPr>
          <p:grpSp>
            <p:nvGrpSpPr>
              <p:cNvPr id="51" name="Group 41"/>
              <p:cNvGrpSpPr>
                <a:grpSpLocks/>
              </p:cNvGrpSpPr>
              <p:nvPr/>
            </p:nvGrpSpPr>
            <p:grpSpPr bwMode="auto">
              <a:xfrm>
                <a:off x="2532" y="1045"/>
                <a:ext cx="742" cy="187"/>
                <a:chOff x="1569" y="2568"/>
                <a:chExt cx="1118" cy="283"/>
              </a:xfrm>
            </p:grpSpPr>
            <p:sp>
              <p:nvSpPr>
                <p:cNvPr id="57" name="AutoShape 42"/>
                <p:cNvSpPr>
                  <a:spLocks noChangeArrowheads="1"/>
                </p:cNvSpPr>
                <p:nvPr/>
              </p:nvSpPr>
              <p:spPr bwMode="white">
                <a:xfrm rot="5263130">
                  <a:off x="1863" y="2275"/>
                  <a:ext cx="229" cy="817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7059"/>
                  </a:srgbClr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defRPr/>
                  </a:pPr>
                  <a:endParaRPr lang="zh-CN" altLang="en-US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58" name="AutoShape 43"/>
                <p:cNvSpPr>
                  <a:spLocks noChangeArrowheads="1"/>
                </p:cNvSpPr>
                <p:nvPr/>
              </p:nvSpPr>
              <p:spPr bwMode="white">
                <a:xfrm rot="6078281">
                  <a:off x="1997" y="2274"/>
                  <a:ext cx="229" cy="817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7059"/>
                  </a:srgbClr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defRPr/>
                  </a:pPr>
                  <a:endParaRPr lang="zh-CN" altLang="en-US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59" name="AutoShape 44"/>
                <p:cNvSpPr>
                  <a:spLocks noChangeArrowheads="1"/>
                </p:cNvSpPr>
                <p:nvPr/>
              </p:nvSpPr>
              <p:spPr bwMode="white">
                <a:xfrm rot="6373927">
                  <a:off x="2076" y="2294"/>
                  <a:ext cx="227" cy="817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7059"/>
                  </a:srgbClr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defRPr/>
                  </a:pPr>
                  <a:endParaRPr lang="zh-CN" altLang="en-US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60" name="AutoShape 45"/>
                <p:cNvSpPr>
                  <a:spLocks noChangeArrowheads="1"/>
                </p:cNvSpPr>
                <p:nvPr/>
              </p:nvSpPr>
              <p:spPr bwMode="white">
                <a:xfrm rot="6906312">
                  <a:off x="2164" y="2328"/>
                  <a:ext cx="229" cy="817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7059"/>
                  </a:srgbClr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defRPr/>
                  </a:pPr>
                  <a:endParaRPr lang="zh-CN" altLang="en-US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</p:grpSp>
          <p:grpSp>
            <p:nvGrpSpPr>
              <p:cNvPr id="52" name="Group 46"/>
              <p:cNvGrpSpPr>
                <a:grpSpLocks/>
              </p:cNvGrpSpPr>
              <p:nvPr/>
            </p:nvGrpSpPr>
            <p:grpSpPr bwMode="auto">
              <a:xfrm rot="1353540">
                <a:off x="2679" y="1110"/>
                <a:ext cx="741" cy="188"/>
                <a:chOff x="1568" y="2567"/>
                <a:chExt cx="1117" cy="282"/>
              </a:xfrm>
            </p:grpSpPr>
            <p:sp>
              <p:nvSpPr>
                <p:cNvPr id="53" name="AutoShape 47"/>
                <p:cNvSpPr>
                  <a:spLocks noChangeArrowheads="1"/>
                </p:cNvSpPr>
                <p:nvPr/>
              </p:nvSpPr>
              <p:spPr bwMode="white">
                <a:xfrm rot="5263130">
                  <a:off x="1862" y="2274"/>
                  <a:ext cx="229" cy="817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7059"/>
                  </a:srgbClr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defRPr/>
                  </a:pPr>
                  <a:endParaRPr lang="zh-CN" altLang="en-US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54" name="AutoShape 48"/>
                <p:cNvSpPr>
                  <a:spLocks noChangeArrowheads="1"/>
                </p:cNvSpPr>
                <p:nvPr/>
              </p:nvSpPr>
              <p:spPr bwMode="white">
                <a:xfrm rot="6078281">
                  <a:off x="1996" y="2273"/>
                  <a:ext cx="229" cy="817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7059"/>
                  </a:srgbClr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defRPr/>
                  </a:pPr>
                  <a:endParaRPr lang="zh-CN" altLang="en-US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55" name="AutoShape 49"/>
                <p:cNvSpPr>
                  <a:spLocks noChangeArrowheads="1"/>
                </p:cNvSpPr>
                <p:nvPr/>
              </p:nvSpPr>
              <p:spPr bwMode="white">
                <a:xfrm rot="6373927">
                  <a:off x="2075" y="2294"/>
                  <a:ext cx="227" cy="817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7059"/>
                  </a:srgbClr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defRPr/>
                  </a:pPr>
                  <a:endParaRPr lang="zh-CN" altLang="en-US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56" name="AutoShape 50"/>
                <p:cNvSpPr>
                  <a:spLocks noChangeArrowheads="1"/>
                </p:cNvSpPr>
                <p:nvPr/>
              </p:nvSpPr>
              <p:spPr bwMode="white">
                <a:xfrm rot="6906312">
                  <a:off x="2162" y="2326"/>
                  <a:ext cx="229" cy="817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7059"/>
                  </a:srgbClr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defRPr/>
                  </a:pPr>
                  <a:endParaRPr lang="zh-CN" altLang="en-US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</p:grpSp>
        </p:grpSp>
      </p:grpSp>
      <p:grpSp>
        <p:nvGrpSpPr>
          <p:cNvPr id="65" name="组合 64"/>
          <p:cNvGrpSpPr/>
          <p:nvPr/>
        </p:nvGrpSpPr>
        <p:grpSpPr>
          <a:xfrm>
            <a:off x="5562600" y="1776418"/>
            <a:ext cx="2962275" cy="965200"/>
            <a:chOff x="5480423" y="1412776"/>
            <a:chExt cx="2962275" cy="965200"/>
          </a:xfrm>
        </p:grpSpPr>
        <p:sp>
          <p:nvSpPr>
            <p:cNvPr id="66" name="AutoShape 5"/>
            <p:cNvSpPr>
              <a:spLocks noChangeArrowheads="1"/>
            </p:cNvSpPr>
            <p:nvPr/>
          </p:nvSpPr>
          <p:spPr bwMode="gray">
            <a:xfrm>
              <a:off x="6299573" y="1412776"/>
              <a:ext cx="2143125" cy="965200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67" name="AutoShape 12"/>
            <p:cNvSpPr>
              <a:spLocks noChangeArrowheads="1"/>
            </p:cNvSpPr>
            <p:nvPr/>
          </p:nvSpPr>
          <p:spPr bwMode="gray">
            <a:xfrm>
              <a:off x="5578848" y="1677889"/>
              <a:ext cx="958850" cy="454025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68" name="Arc 14"/>
            <p:cNvSpPr>
              <a:spLocks/>
            </p:cNvSpPr>
            <p:nvPr/>
          </p:nvSpPr>
          <p:spPr bwMode="gray">
            <a:xfrm>
              <a:off x="6205911" y="1717576"/>
              <a:ext cx="273050" cy="347663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17047"/>
                <a:gd name="T1" fmla="*/ 0 h 21600"/>
                <a:gd name="T2" fmla="*/ 17047 w 17047"/>
                <a:gd name="T3" fmla="*/ 8335 h 21600"/>
                <a:gd name="T4" fmla="*/ 0 w 17047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047" h="21600" fill="none" extrusionOk="0">
                  <a:moveTo>
                    <a:pt x="-1" y="0"/>
                  </a:moveTo>
                  <a:cubicBezTo>
                    <a:pt x="6663" y="0"/>
                    <a:pt x="12954" y="3075"/>
                    <a:pt x="17046" y="8335"/>
                  </a:cubicBezTo>
                </a:path>
                <a:path w="17047" h="21600" stroke="0" extrusionOk="0">
                  <a:moveTo>
                    <a:pt x="-1" y="0"/>
                  </a:moveTo>
                  <a:cubicBezTo>
                    <a:pt x="6663" y="0"/>
                    <a:pt x="12954" y="3075"/>
                    <a:pt x="17046" y="8335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>
              <a:outerShdw dist="81320" dir="2319588" algn="ctr" rotWithShape="0">
                <a:srgbClr val="C0C0C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69" name="Text Box 18"/>
            <p:cNvSpPr txBox="1">
              <a:spLocks noChangeArrowheads="1"/>
            </p:cNvSpPr>
            <p:nvPr/>
          </p:nvSpPr>
          <p:spPr bwMode="gray">
            <a:xfrm>
              <a:off x="5480423" y="1722339"/>
              <a:ext cx="819150" cy="39687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000" b="1">
                  <a:solidFill>
                    <a:schemeClr val="bg2">
                      <a:lumMod val="50000"/>
                    </a:schemeClr>
                  </a:solidFill>
                </a:rPr>
                <a:t>16%</a:t>
              </a:r>
            </a:p>
          </p:txBody>
        </p:sp>
        <p:sp>
          <p:nvSpPr>
            <p:cNvPr id="70" name="Rectangle 19"/>
            <p:cNvSpPr>
              <a:spLocks noChangeArrowheads="1"/>
            </p:cNvSpPr>
            <p:nvPr/>
          </p:nvSpPr>
          <p:spPr bwMode="black">
            <a:xfrm>
              <a:off x="6580291" y="1432935"/>
              <a:ext cx="1746250" cy="92333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>
                <a:defRPr/>
              </a:pPr>
              <a:r>
                <a:rPr lang="zh-CN" altLang="en-US" b="1" dirty="0" smtClean="0"/>
                <a:t>文本</a:t>
              </a:r>
              <a:endParaRPr lang="en-US" altLang="zh-CN" b="1" dirty="0"/>
            </a:p>
            <a:p>
              <a:pPr marL="120650" indent="-120650" algn="r">
                <a:spcBef>
                  <a:spcPct val="50000"/>
                </a:spcBef>
              </a:pPr>
              <a:r>
                <a:rPr lang="zh-CN" altLang="en-US" sz="1200" dirty="0" smtClean="0"/>
                <a:t>这里输入文本</a:t>
              </a:r>
              <a:endParaRPr lang="en-US" altLang="zh-CN" sz="1200" dirty="0" smtClean="0"/>
            </a:p>
            <a:p>
              <a:pPr marL="120650" indent="-120650" algn="r">
                <a:spcBef>
                  <a:spcPct val="50000"/>
                </a:spcBef>
              </a:pPr>
              <a:r>
                <a:rPr lang="zh-CN" altLang="en-US" sz="1200" dirty="0" smtClean="0"/>
                <a:t>这里输入文本</a:t>
              </a:r>
              <a:endParaRPr lang="en-US" altLang="zh-CN" sz="1200" b="1" dirty="0" smtClean="0">
                <a:latin typeface="Verdana" pitchFamily="34" charset="0"/>
              </a:endParaRPr>
            </a:p>
          </p:txBody>
        </p:sp>
      </p:grpSp>
      <p:grpSp>
        <p:nvGrpSpPr>
          <p:cNvPr id="71" name="组合 70"/>
          <p:cNvGrpSpPr/>
          <p:nvPr/>
        </p:nvGrpSpPr>
        <p:grpSpPr>
          <a:xfrm>
            <a:off x="5105400" y="4900618"/>
            <a:ext cx="2955925" cy="993775"/>
            <a:chOff x="5491535" y="4686201"/>
            <a:chExt cx="2955925" cy="993775"/>
          </a:xfrm>
        </p:grpSpPr>
        <p:sp>
          <p:nvSpPr>
            <p:cNvPr id="72" name="AutoShape 4"/>
            <p:cNvSpPr>
              <a:spLocks noChangeArrowheads="1"/>
            </p:cNvSpPr>
            <p:nvPr/>
          </p:nvSpPr>
          <p:spPr bwMode="gray">
            <a:xfrm>
              <a:off x="6304335" y="4686201"/>
              <a:ext cx="2143125" cy="993775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73" name="AutoShape 11"/>
            <p:cNvSpPr>
              <a:spLocks noChangeArrowheads="1"/>
            </p:cNvSpPr>
            <p:nvPr/>
          </p:nvSpPr>
          <p:spPr bwMode="gray">
            <a:xfrm>
              <a:off x="5582023" y="4986239"/>
              <a:ext cx="960438" cy="454025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74" name="Arc 13"/>
            <p:cNvSpPr>
              <a:spLocks/>
            </p:cNvSpPr>
            <p:nvPr/>
          </p:nvSpPr>
          <p:spPr bwMode="gray">
            <a:xfrm rot="5400000">
              <a:off x="6120185" y="5070376"/>
              <a:ext cx="365125" cy="254000"/>
            </a:xfrm>
            <a:custGeom>
              <a:avLst/>
              <a:gdLst>
                <a:gd name="G0" fmla="+- 13148 0 0"/>
                <a:gd name="G1" fmla="+- 21600 0 0"/>
                <a:gd name="G2" fmla="+- 21600 0 0"/>
                <a:gd name="T0" fmla="*/ 0 w 31154"/>
                <a:gd name="T1" fmla="*/ 4462 h 21600"/>
                <a:gd name="T2" fmla="*/ 31154 w 31154"/>
                <a:gd name="T3" fmla="*/ 9670 h 21600"/>
                <a:gd name="T4" fmla="*/ 13148 w 31154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154" h="21600" fill="none" extrusionOk="0">
                  <a:moveTo>
                    <a:pt x="0" y="4462"/>
                  </a:moveTo>
                  <a:cubicBezTo>
                    <a:pt x="3772" y="1568"/>
                    <a:pt x="8393" y="-1"/>
                    <a:pt x="13148" y="0"/>
                  </a:cubicBezTo>
                  <a:cubicBezTo>
                    <a:pt x="20391" y="0"/>
                    <a:pt x="27153" y="3631"/>
                    <a:pt x="31154" y="9669"/>
                  </a:cubicBezTo>
                </a:path>
                <a:path w="31154" h="21600" stroke="0" extrusionOk="0">
                  <a:moveTo>
                    <a:pt x="0" y="4462"/>
                  </a:moveTo>
                  <a:cubicBezTo>
                    <a:pt x="3772" y="1568"/>
                    <a:pt x="8393" y="-1"/>
                    <a:pt x="13148" y="0"/>
                  </a:cubicBezTo>
                  <a:cubicBezTo>
                    <a:pt x="20391" y="0"/>
                    <a:pt x="27153" y="3631"/>
                    <a:pt x="31154" y="9669"/>
                  </a:cubicBezTo>
                  <a:lnTo>
                    <a:pt x="13148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>
              <a:outerShdw dist="56796" dir="1593903" algn="ctr" rotWithShape="0">
                <a:srgbClr val="C0C0C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75" name="Text Box 16"/>
            <p:cNvSpPr txBox="1">
              <a:spLocks noChangeArrowheads="1"/>
            </p:cNvSpPr>
            <p:nvPr/>
          </p:nvSpPr>
          <p:spPr bwMode="gray">
            <a:xfrm>
              <a:off x="5491535" y="5025926"/>
              <a:ext cx="819150" cy="39687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000" b="1">
                  <a:solidFill>
                    <a:schemeClr val="bg2">
                      <a:lumMod val="50000"/>
                    </a:schemeClr>
                  </a:solidFill>
                </a:rPr>
                <a:t>24%</a:t>
              </a:r>
            </a:p>
          </p:txBody>
        </p:sp>
        <p:sp>
          <p:nvSpPr>
            <p:cNvPr id="76" name="Rectangle 19"/>
            <p:cNvSpPr>
              <a:spLocks noChangeArrowheads="1"/>
            </p:cNvSpPr>
            <p:nvPr/>
          </p:nvSpPr>
          <p:spPr bwMode="black">
            <a:xfrm>
              <a:off x="6580291" y="4710973"/>
              <a:ext cx="1746250" cy="92333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>
                <a:defRPr/>
              </a:pPr>
              <a:r>
                <a:rPr lang="zh-CN" altLang="en-US" b="1" dirty="0" smtClean="0"/>
                <a:t>文本</a:t>
              </a:r>
              <a:endParaRPr lang="en-US" altLang="zh-CN" b="1" dirty="0"/>
            </a:p>
            <a:p>
              <a:pPr marL="120650" indent="-120650" algn="r">
                <a:spcBef>
                  <a:spcPct val="50000"/>
                </a:spcBef>
              </a:pPr>
              <a:r>
                <a:rPr lang="zh-CN" altLang="en-US" sz="1200" dirty="0" smtClean="0"/>
                <a:t>这里输入文本</a:t>
              </a:r>
              <a:endParaRPr lang="en-US" altLang="zh-CN" sz="1200" dirty="0" smtClean="0"/>
            </a:p>
            <a:p>
              <a:pPr marL="120650" indent="-120650" algn="r">
                <a:spcBef>
                  <a:spcPct val="50000"/>
                </a:spcBef>
              </a:pPr>
              <a:r>
                <a:rPr lang="zh-CN" altLang="en-US" sz="1200" dirty="0" smtClean="0"/>
                <a:t>这里输入文本</a:t>
              </a:r>
              <a:endParaRPr lang="en-US" altLang="zh-CN" sz="1200" b="1" dirty="0" smtClean="0">
                <a:latin typeface="Verdana" pitchFamily="34" charset="0"/>
              </a:endParaRPr>
            </a:p>
          </p:txBody>
        </p:sp>
      </p:grpSp>
      <p:grpSp>
        <p:nvGrpSpPr>
          <p:cNvPr id="77" name="组合 76"/>
          <p:cNvGrpSpPr/>
          <p:nvPr/>
        </p:nvGrpSpPr>
        <p:grpSpPr>
          <a:xfrm>
            <a:off x="857224" y="2311405"/>
            <a:ext cx="2978150" cy="987425"/>
            <a:chOff x="611560" y="1412776"/>
            <a:chExt cx="2978150" cy="987425"/>
          </a:xfrm>
        </p:grpSpPr>
        <p:sp>
          <p:nvSpPr>
            <p:cNvPr id="78" name="AutoShape 6"/>
            <p:cNvSpPr>
              <a:spLocks noChangeArrowheads="1"/>
            </p:cNvSpPr>
            <p:nvPr/>
          </p:nvSpPr>
          <p:spPr bwMode="gray">
            <a:xfrm>
              <a:off x="611560" y="1412776"/>
              <a:ext cx="2143125" cy="987425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79" name="AutoShape 7"/>
            <p:cNvSpPr>
              <a:spLocks noChangeArrowheads="1"/>
            </p:cNvSpPr>
            <p:nvPr/>
          </p:nvSpPr>
          <p:spPr bwMode="gray">
            <a:xfrm>
              <a:off x="2567360" y="1668364"/>
              <a:ext cx="1022350" cy="488950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80" name="Arc 8"/>
            <p:cNvSpPr>
              <a:spLocks/>
            </p:cNvSpPr>
            <p:nvPr/>
          </p:nvSpPr>
          <p:spPr bwMode="invGray">
            <a:xfrm rot="5400000" flipH="1" flipV="1">
              <a:off x="3118223" y="1800126"/>
              <a:ext cx="419100" cy="21590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8 w 43200"/>
                <a:gd name="T1" fmla="*/ 22192 h 22192"/>
                <a:gd name="T2" fmla="*/ 43199 w 43200"/>
                <a:gd name="T3" fmla="*/ 21801 h 22192"/>
                <a:gd name="T4" fmla="*/ 21600 w 43200"/>
                <a:gd name="T5" fmla="*/ 21600 h 22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22192" fill="none" extrusionOk="0">
                  <a:moveTo>
                    <a:pt x="8" y="22191"/>
                  </a:moveTo>
                  <a:cubicBezTo>
                    <a:pt x="2" y="21994"/>
                    <a:pt x="0" y="21797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21667"/>
                    <a:pt x="43199" y="21734"/>
                    <a:pt x="43199" y="21801"/>
                  </a:cubicBezTo>
                </a:path>
                <a:path w="43200" h="22192" stroke="0" extrusionOk="0">
                  <a:moveTo>
                    <a:pt x="8" y="22191"/>
                  </a:moveTo>
                  <a:cubicBezTo>
                    <a:pt x="2" y="21994"/>
                    <a:pt x="0" y="21797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21667"/>
                    <a:pt x="43199" y="21734"/>
                    <a:pt x="43199" y="21801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>
              <a:outerShdw dist="56796" dir="3806097" algn="ctr" rotWithShape="0">
                <a:srgbClr val="C0C0C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81" name="Text Box 15"/>
            <p:cNvSpPr txBox="1">
              <a:spLocks noChangeArrowheads="1"/>
            </p:cNvSpPr>
            <p:nvPr/>
          </p:nvSpPr>
          <p:spPr bwMode="gray">
            <a:xfrm>
              <a:off x="2497510" y="1704876"/>
              <a:ext cx="819150" cy="39687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en-US" altLang="zh-CN" sz="2000" b="1">
                  <a:solidFill>
                    <a:schemeClr val="bg2">
                      <a:lumMod val="50000"/>
                    </a:schemeClr>
                  </a:solidFill>
                </a:rPr>
                <a:t>50%</a:t>
              </a:r>
            </a:p>
          </p:txBody>
        </p:sp>
        <p:sp>
          <p:nvSpPr>
            <p:cNvPr id="82" name="Rectangle 19"/>
            <p:cNvSpPr>
              <a:spLocks noChangeArrowheads="1"/>
            </p:cNvSpPr>
            <p:nvPr/>
          </p:nvSpPr>
          <p:spPr bwMode="black">
            <a:xfrm>
              <a:off x="688450" y="1432935"/>
              <a:ext cx="1746250" cy="92333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zh-CN" altLang="en-US" b="1" dirty="0" smtClean="0"/>
                <a:t>文本</a:t>
              </a:r>
              <a:endParaRPr lang="en-US" altLang="zh-CN" b="1" dirty="0"/>
            </a:p>
            <a:p>
              <a:pPr marL="120650" indent="-120650" algn="ctr">
                <a:spcBef>
                  <a:spcPct val="50000"/>
                </a:spcBef>
              </a:pPr>
              <a:r>
                <a:rPr lang="zh-CN" altLang="en-US" sz="1200" dirty="0" smtClean="0"/>
                <a:t>这里输入文本</a:t>
              </a:r>
              <a:endParaRPr lang="en-US" altLang="zh-CN" sz="1200" dirty="0" smtClean="0"/>
            </a:p>
            <a:p>
              <a:pPr marL="120650" indent="-120650" algn="ctr">
                <a:spcBef>
                  <a:spcPct val="50000"/>
                </a:spcBef>
              </a:pPr>
              <a:r>
                <a:rPr lang="zh-CN" altLang="en-US" sz="1200" dirty="0" smtClean="0"/>
                <a:t>这里输入文本</a:t>
              </a:r>
              <a:endParaRPr lang="en-US" altLang="zh-CN" sz="1200" b="1" dirty="0" smtClean="0">
                <a:latin typeface="Verdana" pitchFamily="34" charset="0"/>
              </a:endParaRPr>
            </a:p>
          </p:txBody>
        </p:sp>
      </p:grpSp>
      <p:grpSp>
        <p:nvGrpSpPr>
          <p:cNvPr id="83" name="组合 82"/>
          <p:cNvGrpSpPr/>
          <p:nvPr/>
        </p:nvGrpSpPr>
        <p:grpSpPr>
          <a:xfrm>
            <a:off x="3842485" y="3012384"/>
            <a:ext cx="1419400" cy="1419400"/>
            <a:chOff x="3509197" y="1887988"/>
            <a:chExt cx="2196347" cy="2196347"/>
          </a:xfrm>
        </p:grpSpPr>
        <p:sp>
          <p:nvSpPr>
            <p:cNvPr id="84" name="Oval 10"/>
            <p:cNvSpPr>
              <a:spLocks noChangeArrowheads="1"/>
            </p:cNvSpPr>
            <p:nvPr/>
          </p:nvSpPr>
          <p:spPr bwMode="auto">
            <a:xfrm>
              <a:off x="3509197" y="1887988"/>
              <a:ext cx="2196347" cy="2196347"/>
            </a:xfrm>
            <a:prstGeom prst="ellipse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B2B2B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8C8C8C"/>
              </a:prstShdw>
            </a:effec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85" name="Oval 15"/>
            <p:cNvSpPr>
              <a:spLocks noChangeArrowheads="1"/>
            </p:cNvSpPr>
            <p:nvPr/>
          </p:nvSpPr>
          <p:spPr bwMode="auto">
            <a:xfrm>
              <a:off x="3610501" y="1989290"/>
              <a:ext cx="1993744" cy="1993744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86" name="Oval 16"/>
            <p:cNvSpPr>
              <a:spLocks noChangeArrowheads="1"/>
            </p:cNvSpPr>
            <p:nvPr/>
          </p:nvSpPr>
          <p:spPr bwMode="auto">
            <a:xfrm>
              <a:off x="3774932" y="2009844"/>
              <a:ext cx="1664878" cy="1597344"/>
            </a:xfrm>
            <a:prstGeom prst="ellipse">
              <a:avLst/>
            </a:prstGeom>
            <a:gradFill rotWithShape="0">
              <a:gsLst>
                <a:gs pos="0">
                  <a:schemeClr val="bg1">
                    <a:alpha val="60001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</p:grpSp>
      <p:sp>
        <p:nvSpPr>
          <p:cNvPr id="87" name="Rectangle 52"/>
          <p:cNvSpPr>
            <a:spLocks noChangeArrowheads="1"/>
          </p:cNvSpPr>
          <p:nvPr/>
        </p:nvSpPr>
        <p:spPr bwMode="auto">
          <a:xfrm>
            <a:off x="4012667" y="3508918"/>
            <a:ext cx="108585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zh-CN" altLang="en-US" sz="2000" b="1" dirty="0" smtClean="0"/>
              <a:t>文本</a:t>
            </a:r>
            <a:endParaRPr lang="en-US" altLang="zh-CN" sz="2000" b="1" dirty="0">
              <a:latin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7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500"/>
                            </p:stCondLst>
                            <p:childTnLst>
                              <p:par>
                                <p:cTn id="14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3000"/>
                            </p:stCondLst>
                            <p:childTnLst>
                              <p:par>
                                <p:cTn id="19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500"/>
                            </p:stCondLst>
                            <p:childTnLst>
                              <p:par>
                                <p:cTn id="24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6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49" presetClass="entr" presetSubtype="0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组合 48"/>
          <p:cNvGrpSpPr/>
          <p:nvPr/>
        </p:nvGrpSpPr>
        <p:grpSpPr>
          <a:xfrm>
            <a:off x="2296173" y="1500174"/>
            <a:ext cx="2399921" cy="831896"/>
            <a:chOff x="2296173" y="1476018"/>
            <a:chExt cx="2399921" cy="831896"/>
          </a:xfrm>
        </p:grpSpPr>
        <p:sp>
          <p:nvSpPr>
            <p:cNvPr id="50" name="AutoShape 773"/>
            <p:cNvSpPr>
              <a:spLocks noChangeArrowheads="1"/>
            </p:cNvSpPr>
            <p:nvPr/>
          </p:nvSpPr>
          <p:spPr bwMode="auto">
            <a:xfrm>
              <a:off x="2296173" y="1861949"/>
              <a:ext cx="2399921" cy="445965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chemeClr val="tx1">
                    <a:alpha val="50000"/>
                  </a:schemeClr>
                </a:gs>
                <a:gs pos="100000">
                  <a:srgbClr val="6C6C6C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51" name="AutoShape 774"/>
            <p:cNvSpPr>
              <a:spLocks noChangeArrowheads="1"/>
            </p:cNvSpPr>
            <p:nvPr/>
          </p:nvSpPr>
          <p:spPr bwMode="auto">
            <a:xfrm>
              <a:off x="2553460" y="1476018"/>
              <a:ext cx="1931086" cy="614631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DDDDDD"/>
                </a:gs>
                <a:gs pos="100000">
                  <a:srgbClr val="939393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52" name="AutoShape 775"/>
            <p:cNvSpPr>
              <a:spLocks noChangeArrowheads="1"/>
            </p:cNvSpPr>
            <p:nvPr/>
          </p:nvSpPr>
          <p:spPr bwMode="auto">
            <a:xfrm>
              <a:off x="2640653" y="1557493"/>
              <a:ext cx="1759560" cy="445965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chemeClr val="bg2"/>
                </a:gs>
                <a:gs pos="100000">
                  <a:srgbClr val="696969"/>
                </a:gs>
              </a:gsLst>
              <a:lin ang="5400000" scaled="1"/>
            </a:gradFill>
            <a:ln w="19050" cmpd="sng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</p:grpSp>
      <p:grpSp>
        <p:nvGrpSpPr>
          <p:cNvPr id="53" name="组合 52"/>
          <p:cNvGrpSpPr/>
          <p:nvPr/>
        </p:nvGrpSpPr>
        <p:grpSpPr>
          <a:xfrm>
            <a:off x="4429124" y="1500174"/>
            <a:ext cx="2399920" cy="831896"/>
            <a:chOff x="4429124" y="1476018"/>
            <a:chExt cx="2399920" cy="831896"/>
          </a:xfrm>
        </p:grpSpPr>
        <p:sp>
          <p:nvSpPr>
            <p:cNvPr id="54" name="AutoShape 776"/>
            <p:cNvSpPr>
              <a:spLocks noChangeArrowheads="1"/>
            </p:cNvSpPr>
            <p:nvPr/>
          </p:nvSpPr>
          <p:spPr bwMode="auto">
            <a:xfrm>
              <a:off x="4429124" y="1861949"/>
              <a:ext cx="2399920" cy="445965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chemeClr val="tx1">
                    <a:alpha val="50000"/>
                  </a:schemeClr>
                </a:gs>
                <a:gs pos="100000">
                  <a:srgbClr val="6C6C6C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55" name="AutoShape 777"/>
            <p:cNvSpPr>
              <a:spLocks noChangeArrowheads="1"/>
            </p:cNvSpPr>
            <p:nvPr/>
          </p:nvSpPr>
          <p:spPr bwMode="auto">
            <a:xfrm>
              <a:off x="4654642" y="1476018"/>
              <a:ext cx="1883916" cy="614631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DDDDDD"/>
                </a:gs>
                <a:gs pos="100000">
                  <a:srgbClr val="939393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56" name="AutoShape 778"/>
            <p:cNvSpPr>
              <a:spLocks noChangeArrowheads="1"/>
            </p:cNvSpPr>
            <p:nvPr/>
          </p:nvSpPr>
          <p:spPr bwMode="auto">
            <a:xfrm>
              <a:off x="4740404" y="1557493"/>
              <a:ext cx="1713821" cy="445965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C800"/>
                </a:gs>
                <a:gs pos="100000">
                  <a:srgbClr val="D1A400"/>
                </a:gs>
              </a:gsLst>
              <a:lin ang="5400000" scaled="1"/>
            </a:gradFill>
            <a:ln w="19050" cmpd="sng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</p:grpSp>
      <p:sp>
        <p:nvSpPr>
          <p:cNvPr id="57" name="Oval 779"/>
          <p:cNvSpPr>
            <a:spLocks noChangeArrowheads="1"/>
          </p:cNvSpPr>
          <p:nvPr/>
        </p:nvSpPr>
        <p:spPr bwMode="auto">
          <a:xfrm>
            <a:off x="3281013" y="4167536"/>
            <a:ext cx="2539999" cy="1039156"/>
          </a:xfrm>
          <a:prstGeom prst="ellipse">
            <a:avLst/>
          </a:prstGeom>
          <a:gradFill rotWithShape="1">
            <a:gsLst>
              <a:gs pos="0">
                <a:schemeClr val="tx2">
                  <a:alpha val="82999"/>
                </a:schemeClr>
              </a:gs>
              <a:gs pos="100000">
                <a:srgbClr val="6C6C6C">
                  <a:alpha val="0"/>
                </a:srgbClr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ko-KR" altLang="en-US"/>
          </a:p>
        </p:txBody>
      </p:sp>
      <p:grpSp>
        <p:nvGrpSpPr>
          <p:cNvPr id="58" name="组合 57"/>
          <p:cNvGrpSpPr/>
          <p:nvPr/>
        </p:nvGrpSpPr>
        <p:grpSpPr>
          <a:xfrm>
            <a:off x="2296173" y="5167950"/>
            <a:ext cx="2399921" cy="831896"/>
            <a:chOff x="2296173" y="5143794"/>
            <a:chExt cx="2399921" cy="831896"/>
          </a:xfrm>
        </p:grpSpPr>
        <p:sp>
          <p:nvSpPr>
            <p:cNvPr id="59" name="AutoShape 780"/>
            <p:cNvSpPr>
              <a:spLocks noChangeArrowheads="1"/>
            </p:cNvSpPr>
            <p:nvPr/>
          </p:nvSpPr>
          <p:spPr bwMode="auto">
            <a:xfrm>
              <a:off x="2296173" y="5529725"/>
              <a:ext cx="2399921" cy="445965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chemeClr val="tx1">
                    <a:alpha val="50000"/>
                  </a:schemeClr>
                </a:gs>
                <a:gs pos="100000">
                  <a:srgbClr val="6C6C6C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60" name="AutoShape 781"/>
            <p:cNvSpPr>
              <a:spLocks noChangeArrowheads="1"/>
            </p:cNvSpPr>
            <p:nvPr/>
          </p:nvSpPr>
          <p:spPr bwMode="auto">
            <a:xfrm>
              <a:off x="2553460" y="5143794"/>
              <a:ext cx="1931086" cy="614631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DDDDDD"/>
                </a:gs>
                <a:gs pos="100000">
                  <a:srgbClr val="939393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61" name="AutoShape 782"/>
            <p:cNvSpPr>
              <a:spLocks noChangeArrowheads="1"/>
            </p:cNvSpPr>
            <p:nvPr/>
          </p:nvSpPr>
          <p:spPr bwMode="auto">
            <a:xfrm>
              <a:off x="2640653" y="5225269"/>
              <a:ext cx="1759560" cy="445965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C800"/>
                </a:gs>
                <a:gs pos="100000">
                  <a:srgbClr val="D1A400"/>
                </a:gs>
              </a:gsLst>
              <a:lin ang="5400000" scaled="1"/>
            </a:gradFill>
            <a:ln w="19050" cmpd="sng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</p:grpSp>
      <p:grpSp>
        <p:nvGrpSpPr>
          <p:cNvPr id="62" name="组合 61"/>
          <p:cNvGrpSpPr/>
          <p:nvPr/>
        </p:nvGrpSpPr>
        <p:grpSpPr>
          <a:xfrm>
            <a:off x="4386658" y="5167950"/>
            <a:ext cx="2399920" cy="831896"/>
            <a:chOff x="4386658" y="5143794"/>
            <a:chExt cx="2399920" cy="831896"/>
          </a:xfrm>
        </p:grpSpPr>
        <p:sp>
          <p:nvSpPr>
            <p:cNvPr id="63" name="AutoShape 783"/>
            <p:cNvSpPr>
              <a:spLocks noChangeArrowheads="1"/>
            </p:cNvSpPr>
            <p:nvPr/>
          </p:nvSpPr>
          <p:spPr bwMode="auto">
            <a:xfrm>
              <a:off x="4386658" y="5529725"/>
              <a:ext cx="2399920" cy="445965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chemeClr val="tx1">
                    <a:alpha val="50000"/>
                  </a:schemeClr>
                </a:gs>
                <a:gs pos="100000">
                  <a:srgbClr val="6C6C6C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64" name="AutoShape 784"/>
            <p:cNvSpPr>
              <a:spLocks noChangeArrowheads="1"/>
            </p:cNvSpPr>
            <p:nvPr/>
          </p:nvSpPr>
          <p:spPr bwMode="auto">
            <a:xfrm>
              <a:off x="4654642" y="5143794"/>
              <a:ext cx="1883916" cy="614631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DDDDDD"/>
                </a:gs>
                <a:gs pos="100000">
                  <a:srgbClr val="939393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65" name="AutoShape 785"/>
            <p:cNvSpPr>
              <a:spLocks noChangeArrowheads="1"/>
            </p:cNvSpPr>
            <p:nvPr/>
          </p:nvSpPr>
          <p:spPr bwMode="auto">
            <a:xfrm>
              <a:off x="4740404" y="5225269"/>
              <a:ext cx="1713821" cy="445965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chemeClr val="bg2"/>
                </a:gs>
                <a:gs pos="100000">
                  <a:srgbClr val="696969"/>
                </a:gs>
              </a:gsLst>
              <a:lin ang="5400000" scaled="1"/>
            </a:gradFill>
            <a:ln w="19050" cmpd="sng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</p:grpSp>
      <p:grpSp>
        <p:nvGrpSpPr>
          <p:cNvPr id="66" name="组合 65"/>
          <p:cNvGrpSpPr/>
          <p:nvPr/>
        </p:nvGrpSpPr>
        <p:grpSpPr>
          <a:xfrm>
            <a:off x="752448" y="3275458"/>
            <a:ext cx="2399921" cy="831896"/>
            <a:chOff x="752448" y="3251302"/>
            <a:chExt cx="2399921" cy="831896"/>
          </a:xfrm>
        </p:grpSpPr>
        <p:sp>
          <p:nvSpPr>
            <p:cNvPr id="67" name="AutoShape 772"/>
            <p:cNvSpPr>
              <a:spLocks noChangeArrowheads="1"/>
            </p:cNvSpPr>
            <p:nvPr/>
          </p:nvSpPr>
          <p:spPr bwMode="auto">
            <a:xfrm>
              <a:off x="752448" y="3637233"/>
              <a:ext cx="2399921" cy="445965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chemeClr val="tx1">
                    <a:alpha val="50000"/>
                  </a:schemeClr>
                </a:gs>
                <a:gs pos="100000">
                  <a:srgbClr val="6C6C6C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68" name="AutoShape 786"/>
            <p:cNvSpPr>
              <a:spLocks noChangeArrowheads="1"/>
            </p:cNvSpPr>
            <p:nvPr/>
          </p:nvSpPr>
          <p:spPr bwMode="auto">
            <a:xfrm>
              <a:off x="978289" y="3251302"/>
              <a:ext cx="1931086" cy="614631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DDDDDD"/>
                </a:gs>
                <a:gs pos="100000">
                  <a:srgbClr val="939393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69" name="AutoShape 787"/>
            <p:cNvSpPr>
              <a:spLocks noChangeArrowheads="1"/>
            </p:cNvSpPr>
            <p:nvPr/>
          </p:nvSpPr>
          <p:spPr bwMode="auto">
            <a:xfrm>
              <a:off x="1065482" y="3332776"/>
              <a:ext cx="1759560" cy="445965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C800"/>
                </a:gs>
                <a:gs pos="100000">
                  <a:srgbClr val="D1A400"/>
                </a:gs>
              </a:gsLst>
              <a:lin ang="5400000" scaled="1"/>
            </a:gradFill>
            <a:ln w="19050" cmpd="sng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</p:grpSp>
      <p:grpSp>
        <p:nvGrpSpPr>
          <p:cNvPr id="70" name="组合 69"/>
          <p:cNvGrpSpPr/>
          <p:nvPr/>
        </p:nvGrpSpPr>
        <p:grpSpPr>
          <a:xfrm>
            <a:off x="5929322" y="3275458"/>
            <a:ext cx="2399921" cy="831896"/>
            <a:chOff x="5929322" y="3251302"/>
            <a:chExt cx="2399921" cy="831896"/>
          </a:xfrm>
        </p:grpSpPr>
        <p:sp>
          <p:nvSpPr>
            <p:cNvPr id="71" name="AutoShape 788"/>
            <p:cNvSpPr>
              <a:spLocks noChangeArrowheads="1"/>
            </p:cNvSpPr>
            <p:nvPr/>
          </p:nvSpPr>
          <p:spPr bwMode="auto">
            <a:xfrm>
              <a:off x="5929322" y="3637233"/>
              <a:ext cx="2399921" cy="445965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chemeClr val="tx1">
                    <a:alpha val="50000"/>
                  </a:schemeClr>
                </a:gs>
                <a:gs pos="100000">
                  <a:srgbClr val="6C6C6C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72" name="AutoShape 789"/>
            <p:cNvSpPr>
              <a:spLocks noChangeArrowheads="1"/>
            </p:cNvSpPr>
            <p:nvPr/>
          </p:nvSpPr>
          <p:spPr bwMode="auto">
            <a:xfrm>
              <a:off x="6231243" y="3251302"/>
              <a:ext cx="1883916" cy="614631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DDDDDD"/>
                </a:gs>
                <a:gs pos="100000">
                  <a:srgbClr val="939393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73" name="AutoShape 790"/>
            <p:cNvSpPr>
              <a:spLocks noChangeArrowheads="1"/>
            </p:cNvSpPr>
            <p:nvPr/>
          </p:nvSpPr>
          <p:spPr bwMode="auto">
            <a:xfrm>
              <a:off x="6317005" y="3332776"/>
              <a:ext cx="1713820" cy="445965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C800"/>
                </a:gs>
                <a:gs pos="100000">
                  <a:srgbClr val="D1A400"/>
                </a:gs>
              </a:gsLst>
              <a:lin ang="5400000" scaled="1"/>
            </a:gradFill>
            <a:ln w="19050" cmpd="sng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</p:grpSp>
      <p:grpSp>
        <p:nvGrpSpPr>
          <p:cNvPr id="74" name="组合 73"/>
          <p:cNvGrpSpPr/>
          <p:nvPr/>
        </p:nvGrpSpPr>
        <p:grpSpPr>
          <a:xfrm>
            <a:off x="2937963" y="2151969"/>
            <a:ext cx="3247539" cy="2941653"/>
            <a:chOff x="2937963" y="2127813"/>
            <a:chExt cx="3247539" cy="2941653"/>
          </a:xfrm>
        </p:grpSpPr>
        <p:sp>
          <p:nvSpPr>
            <p:cNvPr id="75" name="AutoShape 791"/>
            <p:cNvSpPr>
              <a:spLocks noChangeArrowheads="1"/>
            </p:cNvSpPr>
            <p:nvPr/>
          </p:nvSpPr>
          <p:spPr bwMode="auto">
            <a:xfrm rot="10800000">
              <a:off x="2937963" y="3202703"/>
              <a:ext cx="647506" cy="777580"/>
            </a:xfrm>
            <a:prstGeom prst="rightArrow">
              <a:avLst>
                <a:gd name="adj1" fmla="val 50000"/>
                <a:gd name="adj2" fmla="val 46139"/>
              </a:avLst>
            </a:prstGeom>
            <a:gradFill rotWithShape="1">
              <a:gsLst>
                <a:gs pos="0">
                  <a:srgbClr val="761600">
                    <a:alpha val="0"/>
                  </a:srgbClr>
                </a:gs>
                <a:gs pos="100000">
                  <a:srgbClr val="FF2F00">
                    <a:alpha val="50000"/>
                  </a:srgb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76" name="AutoShape 792"/>
            <p:cNvSpPr>
              <a:spLocks noChangeArrowheads="1"/>
            </p:cNvSpPr>
            <p:nvPr/>
          </p:nvSpPr>
          <p:spPr bwMode="auto">
            <a:xfrm>
              <a:off x="5537995" y="3202703"/>
              <a:ext cx="647507" cy="777580"/>
            </a:xfrm>
            <a:prstGeom prst="rightArrow">
              <a:avLst>
                <a:gd name="adj1" fmla="val 50000"/>
                <a:gd name="adj2" fmla="val 46139"/>
              </a:avLst>
            </a:prstGeom>
            <a:gradFill rotWithShape="1">
              <a:gsLst>
                <a:gs pos="0">
                  <a:srgbClr val="761600">
                    <a:alpha val="0"/>
                  </a:srgbClr>
                </a:gs>
                <a:gs pos="100000">
                  <a:srgbClr val="FF2F00">
                    <a:alpha val="50000"/>
                  </a:srgb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77" name="Freeform 799"/>
            <p:cNvSpPr>
              <a:spLocks/>
            </p:cNvSpPr>
            <p:nvPr/>
          </p:nvSpPr>
          <p:spPr bwMode="auto">
            <a:xfrm rot="1800000">
              <a:off x="4707529" y="2179270"/>
              <a:ext cx="966257" cy="686100"/>
            </a:xfrm>
            <a:custGeom>
              <a:avLst/>
              <a:gdLst>
                <a:gd name="T0" fmla="*/ 0 w 2216"/>
                <a:gd name="T1" fmla="*/ 0 h 2586"/>
                <a:gd name="T2" fmla="*/ 2216 w 2216"/>
                <a:gd name="T3" fmla="*/ 2586 h 2586"/>
              </a:gdLst>
              <a:ahLst/>
              <a:cxnLst>
                <a:cxn ang="0">
                  <a:pos x="1108" y="0"/>
                </a:cxn>
                <a:cxn ang="0">
                  <a:pos x="0" y="1108"/>
                </a:cxn>
                <a:cxn ang="0">
                  <a:pos x="554" y="1108"/>
                </a:cxn>
                <a:cxn ang="0">
                  <a:pos x="696" y="2586"/>
                </a:cxn>
                <a:cxn ang="0">
                  <a:pos x="1518" y="2586"/>
                </a:cxn>
                <a:cxn ang="0">
                  <a:pos x="1662" y="1108"/>
                </a:cxn>
                <a:cxn ang="0">
                  <a:pos x="2216" y="1108"/>
                </a:cxn>
                <a:cxn ang="0">
                  <a:pos x="1108" y="0"/>
                </a:cxn>
              </a:cxnLst>
              <a:rect l="T0" t="T1" r="T2" b="T3"/>
              <a:pathLst>
                <a:path w="2216" h="2586">
                  <a:moveTo>
                    <a:pt x="1108" y="0"/>
                  </a:moveTo>
                  <a:lnTo>
                    <a:pt x="0" y="1108"/>
                  </a:lnTo>
                  <a:lnTo>
                    <a:pt x="554" y="1108"/>
                  </a:lnTo>
                  <a:lnTo>
                    <a:pt x="696" y="2586"/>
                  </a:lnTo>
                  <a:lnTo>
                    <a:pt x="1518" y="2586"/>
                  </a:lnTo>
                  <a:lnTo>
                    <a:pt x="1662" y="1108"/>
                  </a:lnTo>
                  <a:lnTo>
                    <a:pt x="2216" y="1108"/>
                  </a:lnTo>
                  <a:lnTo>
                    <a:pt x="1108" y="0"/>
                  </a:lnTo>
                  <a:close/>
                </a:path>
              </a:pathLst>
            </a:custGeom>
            <a:gradFill rotWithShape="1">
              <a:gsLst>
                <a:gs pos="0">
                  <a:srgbClr val="FF2F00">
                    <a:alpha val="50000"/>
                  </a:srgbClr>
                </a:gs>
                <a:gs pos="100000">
                  <a:srgbClr val="761600">
                    <a:alpha val="0"/>
                  </a:srgbClr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78" name="Freeform 800"/>
            <p:cNvSpPr>
              <a:spLocks/>
            </p:cNvSpPr>
            <p:nvPr/>
          </p:nvSpPr>
          <p:spPr bwMode="auto">
            <a:xfrm rot="20700000">
              <a:off x="3475408" y="2127813"/>
              <a:ext cx="966257" cy="686100"/>
            </a:xfrm>
            <a:custGeom>
              <a:avLst/>
              <a:gdLst>
                <a:gd name="T0" fmla="*/ 0 w 2216"/>
                <a:gd name="T1" fmla="*/ 0 h 2586"/>
                <a:gd name="T2" fmla="*/ 2216 w 2216"/>
                <a:gd name="T3" fmla="*/ 2586 h 2586"/>
              </a:gdLst>
              <a:ahLst/>
              <a:cxnLst>
                <a:cxn ang="0">
                  <a:pos x="1108" y="0"/>
                </a:cxn>
                <a:cxn ang="0">
                  <a:pos x="0" y="1108"/>
                </a:cxn>
                <a:cxn ang="0">
                  <a:pos x="554" y="1108"/>
                </a:cxn>
                <a:cxn ang="0">
                  <a:pos x="696" y="2586"/>
                </a:cxn>
                <a:cxn ang="0">
                  <a:pos x="1518" y="2586"/>
                </a:cxn>
                <a:cxn ang="0">
                  <a:pos x="1662" y="1108"/>
                </a:cxn>
                <a:cxn ang="0">
                  <a:pos x="2216" y="1108"/>
                </a:cxn>
                <a:cxn ang="0">
                  <a:pos x="1108" y="0"/>
                </a:cxn>
              </a:cxnLst>
              <a:rect l="T0" t="T1" r="T2" b="T3"/>
              <a:pathLst>
                <a:path w="2216" h="2586">
                  <a:moveTo>
                    <a:pt x="1108" y="0"/>
                  </a:moveTo>
                  <a:lnTo>
                    <a:pt x="0" y="1108"/>
                  </a:lnTo>
                  <a:lnTo>
                    <a:pt x="554" y="1108"/>
                  </a:lnTo>
                  <a:lnTo>
                    <a:pt x="696" y="2586"/>
                  </a:lnTo>
                  <a:lnTo>
                    <a:pt x="1518" y="2586"/>
                  </a:lnTo>
                  <a:lnTo>
                    <a:pt x="1662" y="1108"/>
                  </a:lnTo>
                  <a:lnTo>
                    <a:pt x="2216" y="1108"/>
                  </a:lnTo>
                  <a:lnTo>
                    <a:pt x="1108" y="0"/>
                  </a:lnTo>
                  <a:close/>
                </a:path>
              </a:pathLst>
            </a:custGeom>
            <a:gradFill rotWithShape="1">
              <a:gsLst>
                <a:gs pos="0">
                  <a:srgbClr val="FF2F00">
                    <a:alpha val="50000"/>
                  </a:srgbClr>
                </a:gs>
                <a:gs pos="100000">
                  <a:srgbClr val="761600">
                    <a:alpha val="0"/>
                  </a:srgbClr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79" name="Freeform 801"/>
            <p:cNvSpPr>
              <a:spLocks/>
            </p:cNvSpPr>
            <p:nvPr/>
          </p:nvSpPr>
          <p:spPr bwMode="auto">
            <a:xfrm rot="9000000">
              <a:off x="4750237" y="4383366"/>
              <a:ext cx="966257" cy="686100"/>
            </a:xfrm>
            <a:custGeom>
              <a:avLst/>
              <a:gdLst>
                <a:gd name="T0" fmla="*/ 0 w 2216"/>
                <a:gd name="T1" fmla="*/ 0 h 2586"/>
                <a:gd name="T2" fmla="*/ 2216 w 2216"/>
                <a:gd name="T3" fmla="*/ 2586 h 2586"/>
              </a:gdLst>
              <a:ahLst/>
              <a:cxnLst>
                <a:cxn ang="0">
                  <a:pos x="1108" y="0"/>
                </a:cxn>
                <a:cxn ang="0">
                  <a:pos x="0" y="1108"/>
                </a:cxn>
                <a:cxn ang="0">
                  <a:pos x="554" y="1108"/>
                </a:cxn>
                <a:cxn ang="0">
                  <a:pos x="696" y="2586"/>
                </a:cxn>
                <a:cxn ang="0">
                  <a:pos x="1518" y="2586"/>
                </a:cxn>
                <a:cxn ang="0">
                  <a:pos x="1662" y="1108"/>
                </a:cxn>
                <a:cxn ang="0">
                  <a:pos x="2216" y="1108"/>
                </a:cxn>
                <a:cxn ang="0">
                  <a:pos x="1108" y="0"/>
                </a:cxn>
              </a:cxnLst>
              <a:rect l="T0" t="T1" r="T2" b="T3"/>
              <a:pathLst>
                <a:path w="2216" h="2586">
                  <a:moveTo>
                    <a:pt x="1108" y="0"/>
                  </a:moveTo>
                  <a:lnTo>
                    <a:pt x="0" y="1108"/>
                  </a:lnTo>
                  <a:lnTo>
                    <a:pt x="554" y="1108"/>
                  </a:lnTo>
                  <a:lnTo>
                    <a:pt x="696" y="2586"/>
                  </a:lnTo>
                  <a:lnTo>
                    <a:pt x="1518" y="2586"/>
                  </a:lnTo>
                  <a:lnTo>
                    <a:pt x="1662" y="1108"/>
                  </a:lnTo>
                  <a:lnTo>
                    <a:pt x="2216" y="1108"/>
                  </a:lnTo>
                  <a:lnTo>
                    <a:pt x="1108" y="0"/>
                  </a:lnTo>
                  <a:close/>
                </a:path>
              </a:pathLst>
            </a:custGeom>
            <a:gradFill rotWithShape="1">
              <a:gsLst>
                <a:gs pos="0">
                  <a:srgbClr val="FF2F00">
                    <a:alpha val="50000"/>
                  </a:srgbClr>
                </a:gs>
                <a:gs pos="100000">
                  <a:srgbClr val="761600">
                    <a:alpha val="0"/>
                  </a:srgbClr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80" name="Freeform 802"/>
            <p:cNvSpPr>
              <a:spLocks/>
            </p:cNvSpPr>
            <p:nvPr/>
          </p:nvSpPr>
          <p:spPr bwMode="auto">
            <a:xfrm rot="12600000">
              <a:off x="3356068" y="4383366"/>
              <a:ext cx="966257" cy="686100"/>
            </a:xfrm>
            <a:custGeom>
              <a:avLst/>
              <a:gdLst>
                <a:gd name="T0" fmla="*/ 0 w 2216"/>
                <a:gd name="T1" fmla="*/ 0 h 2586"/>
                <a:gd name="T2" fmla="*/ 2216 w 2216"/>
                <a:gd name="T3" fmla="*/ 2586 h 2586"/>
              </a:gdLst>
              <a:ahLst/>
              <a:cxnLst>
                <a:cxn ang="0">
                  <a:pos x="1108" y="0"/>
                </a:cxn>
                <a:cxn ang="0">
                  <a:pos x="0" y="1108"/>
                </a:cxn>
                <a:cxn ang="0">
                  <a:pos x="554" y="1108"/>
                </a:cxn>
                <a:cxn ang="0">
                  <a:pos x="696" y="2586"/>
                </a:cxn>
                <a:cxn ang="0">
                  <a:pos x="1518" y="2586"/>
                </a:cxn>
                <a:cxn ang="0">
                  <a:pos x="1662" y="1108"/>
                </a:cxn>
                <a:cxn ang="0">
                  <a:pos x="2216" y="1108"/>
                </a:cxn>
                <a:cxn ang="0">
                  <a:pos x="1108" y="0"/>
                </a:cxn>
              </a:cxnLst>
              <a:rect l="T0" t="T1" r="T2" b="T3"/>
              <a:pathLst>
                <a:path w="2216" h="2586">
                  <a:moveTo>
                    <a:pt x="1108" y="0"/>
                  </a:moveTo>
                  <a:lnTo>
                    <a:pt x="0" y="1108"/>
                  </a:lnTo>
                  <a:lnTo>
                    <a:pt x="554" y="1108"/>
                  </a:lnTo>
                  <a:lnTo>
                    <a:pt x="696" y="2586"/>
                  </a:lnTo>
                  <a:lnTo>
                    <a:pt x="1518" y="2586"/>
                  </a:lnTo>
                  <a:lnTo>
                    <a:pt x="1662" y="1108"/>
                  </a:lnTo>
                  <a:lnTo>
                    <a:pt x="2216" y="1108"/>
                  </a:lnTo>
                  <a:lnTo>
                    <a:pt x="1108" y="0"/>
                  </a:lnTo>
                  <a:close/>
                </a:path>
              </a:pathLst>
            </a:custGeom>
            <a:gradFill rotWithShape="1">
              <a:gsLst>
                <a:gs pos="0">
                  <a:srgbClr val="FF2F00">
                    <a:alpha val="50000"/>
                  </a:srgbClr>
                </a:gs>
                <a:gs pos="100000">
                  <a:srgbClr val="761600">
                    <a:alpha val="0"/>
                  </a:srgbClr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</p:grpSp>
      <p:sp>
        <p:nvSpPr>
          <p:cNvPr id="81" name="Oval 805"/>
          <p:cNvSpPr>
            <a:spLocks noChangeArrowheads="1"/>
          </p:cNvSpPr>
          <p:nvPr/>
        </p:nvSpPr>
        <p:spPr bwMode="auto">
          <a:xfrm>
            <a:off x="4320168" y="2426409"/>
            <a:ext cx="441677" cy="441677"/>
          </a:xfrm>
          <a:prstGeom prst="ellipse">
            <a:avLst/>
          </a:prstGeom>
          <a:gradFill rotWithShape="1">
            <a:gsLst>
              <a:gs pos="0">
                <a:srgbClr val="FFFFFF">
                  <a:alpha val="50000"/>
                </a:srgb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ko-KR" altLang="en-US" b="0"/>
          </a:p>
        </p:txBody>
      </p:sp>
      <p:grpSp>
        <p:nvGrpSpPr>
          <p:cNvPr id="82" name="组合 81"/>
          <p:cNvGrpSpPr/>
          <p:nvPr/>
        </p:nvGrpSpPr>
        <p:grpSpPr>
          <a:xfrm>
            <a:off x="3467509" y="2595900"/>
            <a:ext cx="2244838" cy="2244836"/>
            <a:chOff x="3321970" y="3500438"/>
            <a:chExt cx="2535915" cy="2535914"/>
          </a:xfrm>
        </p:grpSpPr>
        <p:sp>
          <p:nvSpPr>
            <p:cNvPr id="83" name="Oval 504"/>
            <p:cNvSpPr>
              <a:spLocks noChangeArrowheads="1"/>
            </p:cNvSpPr>
            <p:nvPr/>
          </p:nvSpPr>
          <p:spPr bwMode="auto">
            <a:xfrm>
              <a:off x="3332154" y="3500438"/>
              <a:ext cx="2500330" cy="2512350"/>
            </a:xfrm>
            <a:prstGeom prst="ellipse">
              <a:avLst/>
            </a:prstGeom>
            <a:solidFill>
              <a:srgbClr val="B400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ko-KR" altLang="en-US" b="0">
                <a:solidFill>
                  <a:schemeClr val="bg1"/>
                </a:solidFill>
                <a:latin typeface="Arial Black" pitchFamily="34" charset="0"/>
              </a:endParaRPr>
            </a:p>
          </p:txBody>
        </p:sp>
        <p:grpSp>
          <p:nvGrpSpPr>
            <p:cNvPr id="84" name="Group 3"/>
            <p:cNvGrpSpPr>
              <a:grpSpLocks/>
            </p:cNvGrpSpPr>
            <p:nvPr/>
          </p:nvGrpSpPr>
          <p:grpSpPr bwMode="auto">
            <a:xfrm>
              <a:off x="3321970" y="3500438"/>
              <a:ext cx="2535916" cy="2535913"/>
              <a:chOff x="0" y="0"/>
              <a:chExt cx="1667" cy="1667"/>
            </a:xfrm>
          </p:grpSpPr>
          <p:sp>
            <p:nvSpPr>
              <p:cNvPr id="85" name="Oval 598"/>
              <p:cNvSpPr>
                <a:spLocks noChangeArrowheads="1"/>
              </p:cNvSpPr>
              <p:nvPr/>
            </p:nvSpPr>
            <p:spPr bwMode="auto">
              <a:xfrm>
                <a:off x="612" y="33"/>
                <a:ext cx="436" cy="439"/>
              </a:xfrm>
              <a:prstGeom prst="ellipse">
                <a:avLst/>
              </a:prstGeom>
              <a:gradFill rotWithShape="1">
                <a:gsLst>
                  <a:gs pos="0">
                    <a:srgbClr val="FFFFFF">
                      <a:alpha val="50000"/>
                    </a:srgbClr>
                  </a:gs>
                  <a:gs pos="100000">
                    <a:schemeClr val="tx1"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ko-KR" altLang="en-US" b="0"/>
              </a:p>
            </p:txBody>
          </p:sp>
          <p:pic>
            <p:nvPicPr>
              <p:cNvPr id="86" name="Picture 599" descr="그림1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0" y="0"/>
                <a:ext cx="1667" cy="16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87" name="Rectangle 9"/>
          <p:cNvSpPr>
            <a:spLocks noChangeArrowheads="1"/>
          </p:cNvSpPr>
          <p:nvPr/>
        </p:nvSpPr>
        <p:spPr bwMode="gray">
          <a:xfrm>
            <a:off x="3740144" y="3684403"/>
            <a:ext cx="1617675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20650" indent="-120650" algn="ctr">
              <a:spcBef>
                <a:spcPct val="50000"/>
              </a:spcBef>
            </a:pPr>
            <a:r>
              <a:rPr lang="zh-CN" altLang="en-US" b="1" dirty="0" smtClean="0">
                <a:solidFill>
                  <a:schemeClr val="bg1"/>
                </a:solidFill>
              </a:rPr>
              <a:t>点击输入文本</a:t>
            </a:r>
            <a:endParaRPr lang="en-US" altLang="zh-CN" b="1" dirty="0" smtClean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88" name="Rectangle 9"/>
          <p:cNvSpPr>
            <a:spLocks noChangeArrowheads="1"/>
          </p:cNvSpPr>
          <p:nvPr/>
        </p:nvSpPr>
        <p:spPr bwMode="gray">
          <a:xfrm>
            <a:off x="3740144" y="3295986"/>
            <a:ext cx="1617675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20650" indent="-120650" algn="ctr">
              <a:spcBef>
                <a:spcPct val="50000"/>
              </a:spcBef>
            </a:pPr>
            <a:r>
              <a:rPr lang="zh-CN" altLang="en-US" sz="2400" b="1" dirty="0" smtClean="0">
                <a:solidFill>
                  <a:schemeClr val="bg1"/>
                </a:solidFill>
              </a:rPr>
              <a:t>文本</a:t>
            </a:r>
            <a:endParaRPr lang="en-US" altLang="zh-CN" sz="2400" b="1" dirty="0" smtClean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89" name="Rectangle 9"/>
          <p:cNvSpPr>
            <a:spLocks noChangeArrowheads="1"/>
          </p:cNvSpPr>
          <p:nvPr/>
        </p:nvSpPr>
        <p:spPr bwMode="gray">
          <a:xfrm>
            <a:off x="2714612" y="1629635"/>
            <a:ext cx="1617675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20650" indent="-120650" algn="ctr">
              <a:spcBef>
                <a:spcPct val="50000"/>
              </a:spcBef>
            </a:pPr>
            <a:r>
              <a:rPr lang="zh-CN" altLang="en-US" sz="1600" b="1" dirty="0" smtClean="0">
                <a:solidFill>
                  <a:schemeClr val="bg1"/>
                </a:solidFill>
              </a:rPr>
              <a:t>点击输入文本</a:t>
            </a:r>
            <a:endParaRPr lang="en-US" altLang="zh-CN" sz="1600" b="1" dirty="0" smtClean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90" name="Rectangle 9"/>
          <p:cNvSpPr>
            <a:spLocks noChangeArrowheads="1"/>
          </p:cNvSpPr>
          <p:nvPr/>
        </p:nvSpPr>
        <p:spPr bwMode="gray">
          <a:xfrm>
            <a:off x="4783659" y="1629635"/>
            <a:ext cx="1617675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20650" indent="-120650" algn="ctr">
              <a:spcBef>
                <a:spcPct val="50000"/>
              </a:spcBef>
            </a:pPr>
            <a:r>
              <a:rPr lang="zh-CN" altLang="en-US" sz="1600" b="1" dirty="0" smtClean="0">
                <a:solidFill>
                  <a:schemeClr val="accent1">
                    <a:lumMod val="50000"/>
                  </a:schemeClr>
                </a:solidFill>
              </a:rPr>
              <a:t>点击输入文本</a:t>
            </a:r>
            <a:endParaRPr lang="en-US" altLang="zh-CN" sz="1600" b="1" dirty="0" smtClean="0">
              <a:solidFill>
                <a:schemeClr val="accent1">
                  <a:lumMod val="50000"/>
                </a:schemeClr>
              </a:solidFill>
              <a:latin typeface="Verdana" pitchFamily="34" charset="0"/>
            </a:endParaRPr>
          </a:p>
        </p:txBody>
      </p:sp>
      <p:sp>
        <p:nvSpPr>
          <p:cNvPr id="91" name="Rectangle 9"/>
          <p:cNvSpPr>
            <a:spLocks noChangeArrowheads="1"/>
          </p:cNvSpPr>
          <p:nvPr/>
        </p:nvSpPr>
        <p:spPr bwMode="gray">
          <a:xfrm>
            <a:off x="1131870" y="3417700"/>
            <a:ext cx="1617675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20650" indent="-120650" algn="ctr">
              <a:spcBef>
                <a:spcPct val="50000"/>
              </a:spcBef>
            </a:pPr>
            <a:r>
              <a:rPr lang="zh-CN" altLang="en-US" sz="1600" b="1" dirty="0" smtClean="0">
                <a:solidFill>
                  <a:schemeClr val="accent1">
                    <a:lumMod val="50000"/>
                  </a:schemeClr>
                </a:solidFill>
              </a:rPr>
              <a:t>点击输入文本</a:t>
            </a:r>
            <a:endParaRPr lang="en-US" altLang="zh-CN" sz="1600" b="1" dirty="0" smtClean="0">
              <a:solidFill>
                <a:schemeClr val="accent1">
                  <a:lumMod val="50000"/>
                </a:schemeClr>
              </a:solidFill>
              <a:latin typeface="Verdana" pitchFamily="34" charset="0"/>
            </a:endParaRPr>
          </a:p>
        </p:txBody>
      </p:sp>
      <p:sp>
        <p:nvSpPr>
          <p:cNvPr id="92" name="Rectangle 9"/>
          <p:cNvSpPr>
            <a:spLocks noChangeArrowheads="1"/>
          </p:cNvSpPr>
          <p:nvPr/>
        </p:nvSpPr>
        <p:spPr bwMode="gray">
          <a:xfrm>
            <a:off x="6355804" y="3417700"/>
            <a:ext cx="1617675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20650" indent="-120650" algn="ctr">
              <a:spcBef>
                <a:spcPct val="50000"/>
              </a:spcBef>
            </a:pPr>
            <a:r>
              <a:rPr lang="zh-CN" altLang="en-US" sz="1600" b="1" dirty="0" smtClean="0">
                <a:solidFill>
                  <a:schemeClr val="accent1">
                    <a:lumMod val="50000"/>
                  </a:schemeClr>
                </a:solidFill>
              </a:rPr>
              <a:t>点击输入文本</a:t>
            </a:r>
            <a:endParaRPr lang="en-US" altLang="zh-CN" sz="1600" b="1" dirty="0" smtClean="0">
              <a:solidFill>
                <a:schemeClr val="accent1">
                  <a:lumMod val="50000"/>
                </a:schemeClr>
              </a:solidFill>
              <a:latin typeface="Verdana" pitchFamily="34" charset="0"/>
            </a:endParaRPr>
          </a:p>
        </p:txBody>
      </p:sp>
      <p:sp>
        <p:nvSpPr>
          <p:cNvPr id="93" name="Rectangle 9"/>
          <p:cNvSpPr>
            <a:spLocks noChangeArrowheads="1"/>
          </p:cNvSpPr>
          <p:nvPr/>
        </p:nvSpPr>
        <p:spPr bwMode="gray">
          <a:xfrm>
            <a:off x="2715646" y="5307881"/>
            <a:ext cx="1617675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20650" indent="-120650" algn="ctr">
              <a:spcBef>
                <a:spcPct val="50000"/>
              </a:spcBef>
            </a:pPr>
            <a:r>
              <a:rPr lang="zh-CN" altLang="en-US" sz="1600" b="1" dirty="0" smtClean="0">
                <a:solidFill>
                  <a:schemeClr val="accent1">
                    <a:lumMod val="50000"/>
                  </a:schemeClr>
                </a:solidFill>
              </a:rPr>
              <a:t>点击输入文本</a:t>
            </a:r>
            <a:endParaRPr lang="en-US" altLang="zh-CN" sz="1600" b="1" dirty="0" smtClean="0">
              <a:solidFill>
                <a:schemeClr val="accent1">
                  <a:lumMod val="50000"/>
                </a:schemeClr>
              </a:solidFill>
              <a:latin typeface="Verdana" pitchFamily="34" charset="0"/>
            </a:endParaRPr>
          </a:p>
        </p:txBody>
      </p:sp>
      <p:sp>
        <p:nvSpPr>
          <p:cNvPr id="94" name="Rectangle 9"/>
          <p:cNvSpPr>
            <a:spLocks noChangeArrowheads="1"/>
          </p:cNvSpPr>
          <p:nvPr/>
        </p:nvSpPr>
        <p:spPr bwMode="gray">
          <a:xfrm>
            <a:off x="4801649" y="5305766"/>
            <a:ext cx="1617675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20650" indent="-120650" algn="ctr">
              <a:spcBef>
                <a:spcPct val="50000"/>
              </a:spcBef>
            </a:pPr>
            <a:r>
              <a:rPr lang="zh-CN" altLang="en-US" sz="1600" b="1" dirty="0" smtClean="0">
                <a:solidFill>
                  <a:schemeClr val="bg1"/>
                </a:solidFill>
              </a:rPr>
              <a:t>点击输入文本</a:t>
            </a:r>
            <a:endParaRPr lang="en-US" altLang="zh-CN" sz="1600" b="1" dirty="0" smtClean="0">
              <a:solidFill>
                <a:schemeClr val="bg1"/>
              </a:solidFill>
              <a:latin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500"/>
                            </p:stCondLst>
                            <p:childTnLst>
                              <p:par>
                                <p:cTn id="3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5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000"/>
                            </p:stCondLst>
                            <p:childTnLst>
                              <p:par>
                                <p:cTn id="37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3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1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5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0"/>
                            </p:stCondLst>
                            <p:childTnLst>
                              <p:par>
                                <p:cTn id="57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000"/>
                            </p:stCondLst>
                            <p:childTnLst>
                              <p:par>
                                <p:cTn id="61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500"/>
                            </p:stCondLst>
                            <p:childTnLst>
                              <p:par>
                                <p:cTn id="6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7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7000"/>
                            </p:stCondLst>
                            <p:childTnLst>
                              <p:par>
                                <p:cTn id="69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1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7500"/>
                            </p:stCondLst>
                            <p:childTnLst>
                              <p:par>
                                <p:cTn id="7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" grpId="0"/>
      <p:bldP spid="88" grpId="0"/>
      <p:bldP spid="89" grpId="0"/>
      <p:bldP spid="90" grpId="0"/>
      <p:bldP spid="91" grpId="0"/>
      <p:bldP spid="92" grpId="0"/>
      <p:bldP spid="93" grpId="0"/>
      <p:bldP spid="94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" name="组合 96"/>
          <p:cNvGrpSpPr/>
          <p:nvPr/>
        </p:nvGrpSpPr>
        <p:grpSpPr>
          <a:xfrm>
            <a:off x="5689625" y="2363600"/>
            <a:ext cx="2382837" cy="2665413"/>
            <a:chOff x="3348038" y="3151180"/>
            <a:chExt cx="2382837" cy="2665413"/>
          </a:xfrm>
        </p:grpSpPr>
        <p:sp>
          <p:nvSpPr>
            <p:cNvPr id="98" name="Oval 8"/>
            <p:cNvSpPr>
              <a:spLocks noChangeArrowheads="1"/>
            </p:cNvSpPr>
            <p:nvPr/>
          </p:nvSpPr>
          <p:spPr bwMode="auto">
            <a:xfrm>
              <a:off x="3348038" y="4791068"/>
              <a:ext cx="2311400" cy="1025525"/>
            </a:xfrm>
            <a:prstGeom prst="ellipse">
              <a:avLst/>
            </a:prstGeom>
            <a:gradFill rotWithShape="1">
              <a:gsLst>
                <a:gs pos="0">
                  <a:srgbClr val="000000"/>
                </a:gs>
                <a:gs pos="100000">
                  <a:srgbClr val="6C6C6C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Oval 20"/>
            <p:cNvSpPr>
              <a:spLocks noChangeArrowheads="1"/>
            </p:cNvSpPr>
            <p:nvPr/>
          </p:nvSpPr>
          <p:spPr bwMode="auto">
            <a:xfrm>
              <a:off x="3419475" y="3171818"/>
              <a:ext cx="2311400" cy="2322512"/>
            </a:xfrm>
            <a:prstGeom prst="ellipse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3B3B3B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00" name="Group 32"/>
            <p:cNvGrpSpPr>
              <a:grpSpLocks/>
            </p:cNvGrpSpPr>
            <p:nvPr/>
          </p:nvGrpSpPr>
          <p:grpSpPr bwMode="auto">
            <a:xfrm>
              <a:off x="3419475" y="3151180"/>
              <a:ext cx="2305052" cy="2376489"/>
              <a:chOff x="0" y="0"/>
              <a:chExt cx="1667" cy="1667"/>
            </a:xfrm>
          </p:grpSpPr>
          <p:sp>
            <p:nvSpPr>
              <p:cNvPr id="102" name="Oval 854"/>
              <p:cNvSpPr>
                <a:spLocks noChangeArrowheads="1"/>
              </p:cNvSpPr>
              <p:nvPr/>
            </p:nvSpPr>
            <p:spPr bwMode="auto">
              <a:xfrm>
                <a:off x="612" y="33"/>
                <a:ext cx="436" cy="439"/>
              </a:xfrm>
              <a:prstGeom prst="ellipse">
                <a:avLst/>
              </a:prstGeom>
              <a:gradFill rotWithShape="1">
                <a:gsLst>
                  <a:gs pos="0">
                    <a:srgbClr val="FFFFFF">
                      <a:alpha val="5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pic>
            <p:nvPicPr>
              <p:cNvPr id="103" name="Picture 855" descr="그림1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0" y="0"/>
                <a:ext cx="1667" cy="16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101" name="Oval 21"/>
            <p:cNvSpPr>
              <a:spLocks noChangeArrowheads="1"/>
            </p:cNvSpPr>
            <p:nvPr/>
          </p:nvSpPr>
          <p:spPr bwMode="auto">
            <a:xfrm>
              <a:off x="4284663" y="3314693"/>
              <a:ext cx="433387" cy="433387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1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04" name="圆角矩形 103"/>
          <p:cNvSpPr/>
          <p:nvPr/>
        </p:nvSpPr>
        <p:spPr>
          <a:xfrm>
            <a:off x="1117593" y="1655390"/>
            <a:ext cx="3786214" cy="3786214"/>
          </a:xfrm>
          <a:prstGeom prst="roundRect">
            <a:avLst/>
          </a:prstGeom>
          <a:gradFill rotWithShape="1">
            <a:gsLst>
              <a:gs pos="0">
                <a:srgbClr val="FFFFFF">
                  <a:shade val="51000"/>
                  <a:satMod val="130000"/>
                </a:srgbClr>
              </a:gs>
              <a:gs pos="80000">
                <a:srgbClr val="FFFFFF">
                  <a:shade val="93000"/>
                  <a:satMod val="130000"/>
                </a:srgbClr>
              </a:gs>
              <a:gs pos="100000">
                <a:srgbClr val="FFFFFF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  <a:reflection blurRad="6350" stA="52000" endA="300" endPos="35000" dir="5400000" sy="-100000" algn="bl" rotWithShape="0"/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宋体"/>
              <a:cs typeface="+mn-cs"/>
            </a:endParaRPr>
          </a:p>
        </p:txBody>
      </p:sp>
      <p:sp>
        <p:nvSpPr>
          <p:cNvPr id="105" name="圆角矩形 104"/>
          <p:cNvSpPr/>
          <p:nvPr/>
        </p:nvSpPr>
        <p:spPr>
          <a:xfrm>
            <a:off x="1684562" y="1976406"/>
            <a:ext cx="2286016" cy="35719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F67412">
                  <a:shade val="51000"/>
                  <a:satMod val="130000"/>
                </a:srgbClr>
              </a:gs>
              <a:gs pos="80000">
                <a:srgbClr val="F67412">
                  <a:shade val="93000"/>
                  <a:satMod val="130000"/>
                </a:srgbClr>
              </a:gs>
              <a:gs pos="100000">
                <a:srgbClr val="F67412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宋体"/>
              <a:cs typeface="+mn-cs"/>
            </a:endParaRPr>
          </a:p>
        </p:txBody>
      </p:sp>
      <p:sp>
        <p:nvSpPr>
          <p:cNvPr id="106" name="圆角矩形 105"/>
          <p:cNvSpPr/>
          <p:nvPr/>
        </p:nvSpPr>
        <p:spPr>
          <a:xfrm>
            <a:off x="1684562" y="3079829"/>
            <a:ext cx="2286016" cy="35719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F67412">
                  <a:shade val="51000"/>
                  <a:satMod val="130000"/>
                </a:srgbClr>
              </a:gs>
              <a:gs pos="80000">
                <a:srgbClr val="F67412">
                  <a:shade val="93000"/>
                  <a:satMod val="130000"/>
                </a:srgbClr>
              </a:gs>
              <a:gs pos="100000">
                <a:srgbClr val="F67412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宋体"/>
              <a:cs typeface="+mn-cs"/>
            </a:endParaRPr>
          </a:p>
        </p:txBody>
      </p:sp>
      <p:sp>
        <p:nvSpPr>
          <p:cNvPr id="107" name="圆角矩形 106"/>
          <p:cNvSpPr/>
          <p:nvPr/>
        </p:nvSpPr>
        <p:spPr>
          <a:xfrm>
            <a:off x="1684562" y="4189799"/>
            <a:ext cx="2286016" cy="35719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F67412">
                  <a:shade val="51000"/>
                  <a:satMod val="130000"/>
                </a:srgbClr>
              </a:gs>
              <a:gs pos="80000">
                <a:srgbClr val="F67412">
                  <a:shade val="93000"/>
                  <a:satMod val="130000"/>
                </a:srgbClr>
              </a:gs>
              <a:gs pos="100000">
                <a:srgbClr val="F67412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宋体"/>
              <a:cs typeface="+mn-cs"/>
            </a:endParaRPr>
          </a:p>
        </p:txBody>
      </p:sp>
      <p:sp>
        <p:nvSpPr>
          <p:cNvPr id="108" name="Text Box 9"/>
          <p:cNvSpPr txBox="1">
            <a:spLocks noChangeArrowheads="1"/>
          </p:cNvSpPr>
          <p:nvPr/>
        </p:nvSpPr>
        <p:spPr bwMode="auto">
          <a:xfrm>
            <a:off x="6154218" y="3397520"/>
            <a:ext cx="1564614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这里输入文本</a:t>
            </a:r>
            <a:endParaRPr kumimoji="0" lang="en-US" altLang="zh-CN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09" name="Text Box 4"/>
          <p:cNvSpPr txBox="1">
            <a:spLocks noChangeArrowheads="1"/>
          </p:cNvSpPr>
          <p:nvPr/>
        </p:nvSpPr>
        <p:spPr bwMode="black">
          <a:xfrm>
            <a:off x="1454720" y="5721186"/>
            <a:ext cx="5974800" cy="3510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这里输入</a:t>
            </a: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文本</a:t>
            </a:r>
            <a:r>
              <a: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这里输入</a:t>
            </a: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文本</a:t>
            </a:r>
            <a:endParaRPr kumimoji="0" lang="en-US" altLang="zh-CN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10" name="右箭头 109"/>
          <p:cNvSpPr/>
          <p:nvPr/>
        </p:nvSpPr>
        <p:spPr>
          <a:xfrm>
            <a:off x="4332302" y="2869836"/>
            <a:ext cx="1643075" cy="1500198"/>
          </a:xfrm>
          <a:prstGeom prst="rightArrow">
            <a:avLst>
              <a:gd name="adj1" fmla="val 56710"/>
              <a:gd name="adj2" fmla="val 50000"/>
            </a:avLst>
          </a:prstGeom>
          <a:gradFill rotWithShape="1">
            <a:gsLst>
              <a:gs pos="0">
                <a:srgbClr val="FFC000">
                  <a:shade val="51000"/>
                  <a:satMod val="130000"/>
                </a:srgbClr>
              </a:gs>
              <a:gs pos="80000">
                <a:srgbClr val="FFC000">
                  <a:shade val="93000"/>
                  <a:satMod val="130000"/>
                </a:srgbClr>
              </a:gs>
              <a:gs pos="100000">
                <a:srgbClr val="FFC000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glow rad="139700">
              <a:srgbClr val="F67412">
                <a:satMod val="175000"/>
                <a:alpha val="40000"/>
              </a:srgbClr>
            </a:glow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riblet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宋体"/>
              <a:cs typeface="+mn-cs"/>
            </a:endParaRPr>
          </a:p>
        </p:txBody>
      </p:sp>
      <p:sp>
        <p:nvSpPr>
          <p:cNvPr id="111" name="Text Box 8"/>
          <p:cNvSpPr txBox="1">
            <a:spLocks noChangeArrowheads="1"/>
          </p:cNvSpPr>
          <p:nvPr/>
        </p:nvSpPr>
        <p:spPr bwMode="white">
          <a:xfrm>
            <a:off x="4329158" y="3369902"/>
            <a:ext cx="1217591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zh-CN" altLang="en-US" sz="2400" dirty="0" smtClean="0">
                <a:latin typeface="Calibri" pitchFamily="34" charset="0"/>
              </a:rPr>
              <a:t>文本</a:t>
            </a:r>
            <a:endParaRPr lang="en-US" altLang="zh-CN" sz="2400" dirty="0">
              <a:latin typeface="Calibri" pitchFamily="34" charset="0"/>
            </a:endParaRPr>
          </a:p>
        </p:txBody>
      </p:sp>
      <p:sp>
        <p:nvSpPr>
          <p:cNvPr id="112" name="Rectangle 63"/>
          <p:cNvSpPr>
            <a:spLocks noChangeArrowheads="1"/>
          </p:cNvSpPr>
          <p:nvPr/>
        </p:nvSpPr>
        <p:spPr bwMode="gray">
          <a:xfrm>
            <a:off x="1894287" y="1982745"/>
            <a:ext cx="182614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1F3F5F"/>
              </a:buClr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67412">
                    <a:lumMod val="25000"/>
                  </a:srgbClr>
                </a:solidFill>
                <a:effectLst/>
                <a:uLnTx/>
                <a:uFillTx/>
              </a:rPr>
              <a:t>这里输入文本信息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6741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13" name="Rectangle 66"/>
          <p:cNvSpPr>
            <a:spLocks noChangeArrowheads="1"/>
          </p:cNvSpPr>
          <p:nvPr/>
        </p:nvSpPr>
        <p:spPr bwMode="auto">
          <a:xfrm>
            <a:off x="1898876" y="2381880"/>
            <a:ext cx="250033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这里输入文本</a:t>
            </a: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信息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这里输</a:t>
            </a: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入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</a:endParaRPr>
          </a:p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这里输入文本</a:t>
            </a: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信息这里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输</a:t>
            </a: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入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14" name="Rectangle 66"/>
          <p:cNvSpPr>
            <a:spLocks noChangeArrowheads="1"/>
          </p:cNvSpPr>
          <p:nvPr/>
        </p:nvSpPr>
        <p:spPr bwMode="auto">
          <a:xfrm>
            <a:off x="1898876" y="3454758"/>
            <a:ext cx="250033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这里输入文本</a:t>
            </a: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信息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这里输</a:t>
            </a: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入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</a:endParaRPr>
          </a:p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这里输入文本</a:t>
            </a: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信息这里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输</a:t>
            </a: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入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15" name="Rectangle 66"/>
          <p:cNvSpPr>
            <a:spLocks noChangeArrowheads="1"/>
          </p:cNvSpPr>
          <p:nvPr/>
        </p:nvSpPr>
        <p:spPr bwMode="auto">
          <a:xfrm>
            <a:off x="1898876" y="4555024"/>
            <a:ext cx="250033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这里输入文本</a:t>
            </a: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信息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这里输</a:t>
            </a: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入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</a:endParaRPr>
          </a:p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这里输入文本</a:t>
            </a: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信息这里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输</a:t>
            </a: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入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16" name="Rectangle 63"/>
          <p:cNvSpPr>
            <a:spLocks noChangeArrowheads="1"/>
          </p:cNvSpPr>
          <p:nvPr/>
        </p:nvSpPr>
        <p:spPr bwMode="gray">
          <a:xfrm>
            <a:off x="1894287" y="3090231"/>
            <a:ext cx="182614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1F3F5F"/>
              </a:buClr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67412">
                    <a:lumMod val="25000"/>
                  </a:srgbClr>
                </a:solidFill>
                <a:effectLst/>
                <a:uLnTx/>
                <a:uFillTx/>
              </a:rPr>
              <a:t>这里输入文本信息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6741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17" name="Rectangle 63"/>
          <p:cNvSpPr>
            <a:spLocks noChangeArrowheads="1"/>
          </p:cNvSpPr>
          <p:nvPr/>
        </p:nvSpPr>
        <p:spPr bwMode="gray">
          <a:xfrm>
            <a:off x="1894287" y="4195612"/>
            <a:ext cx="182614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1F3F5F"/>
              </a:buClr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67412">
                    <a:lumMod val="25000"/>
                  </a:srgbClr>
                </a:solidFill>
                <a:effectLst/>
                <a:uLnTx/>
                <a:uFillTx/>
              </a:rPr>
              <a:t>这里输入文本信息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67412">
                  <a:lumMod val="25000"/>
                </a:srgbClr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1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900" decel="1000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900" decel="1000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500"/>
                            </p:stCondLst>
                            <p:childTnLst>
                              <p:par>
                                <p:cTn id="28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900" decel="1000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500"/>
                            </p:stCondLst>
                            <p:childTnLst>
                              <p:par>
                                <p:cTn id="3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0"/>
                            </p:stCondLst>
                            <p:childTnLst>
                              <p:par>
                                <p:cTn id="40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900" decel="1000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6000"/>
                            </p:stCondLst>
                            <p:childTnLst>
                              <p:par>
                                <p:cTn id="47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900" decel="1000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7000"/>
                            </p:stCondLst>
                            <p:childTnLst>
                              <p:par>
                                <p:cTn id="5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7500"/>
                            </p:stCondLst>
                            <p:childTnLst>
                              <p:par>
                                <p:cTn id="5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900" decel="1000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8500"/>
                            </p:stCondLst>
                            <p:childTnLst>
                              <p:par>
                                <p:cTn id="66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68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9000"/>
                            </p:stCondLst>
                            <p:childTnLst>
                              <p:par>
                                <p:cTn id="70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2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9500"/>
                            </p:stCondLst>
                            <p:childTnLst>
                              <p:par>
                                <p:cTn id="74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10000"/>
                            </p:stCondLst>
                            <p:childTnLst>
                              <p:par>
                                <p:cTn id="81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10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900" decel="100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1000"/>
                            </p:stCondLst>
                            <p:childTnLst>
                              <p:par>
                                <p:cTn id="88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" grpId="0" animBg="1"/>
      <p:bldP spid="105" grpId="0" animBg="1"/>
      <p:bldP spid="106" grpId="0" animBg="1"/>
      <p:bldP spid="107" grpId="0" animBg="1"/>
      <p:bldP spid="108" grpId="0"/>
      <p:bldP spid="109" grpId="0"/>
      <p:bldP spid="110" grpId="0" animBg="1"/>
      <p:bldP spid="111" grpId="0"/>
      <p:bldP spid="112" grpId="0"/>
      <p:bldP spid="113" grpId="0"/>
      <p:bldP spid="114" grpId="0"/>
      <p:bldP spid="115" grpId="0"/>
      <p:bldP spid="116" grpId="0"/>
      <p:bldP spid="117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Line 410"/>
          <p:cNvSpPr>
            <a:spLocks noChangeShapeType="1"/>
          </p:cNvSpPr>
          <p:nvPr/>
        </p:nvSpPr>
        <p:spPr bwMode="auto">
          <a:xfrm flipV="1">
            <a:off x="4606925" y="3305175"/>
            <a:ext cx="0" cy="1152525"/>
          </a:xfrm>
          <a:prstGeom prst="line">
            <a:avLst/>
          </a:prstGeom>
          <a:noFill/>
          <a:ln w="63500" cmpd="sng">
            <a:solidFill>
              <a:srgbClr val="FF2F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90" name="Freeform 411"/>
          <p:cNvSpPr>
            <a:spLocks/>
          </p:cNvSpPr>
          <p:nvPr/>
        </p:nvSpPr>
        <p:spPr bwMode="auto">
          <a:xfrm flipH="1">
            <a:off x="6588125" y="3305175"/>
            <a:ext cx="503238" cy="1295400"/>
          </a:xfrm>
          <a:custGeom>
            <a:avLst/>
            <a:gdLst>
              <a:gd name="T0" fmla="*/ 0 w 318"/>
              <a:gd name="T1" fmla="*/ 0 h 816"/>
              <a:gd name="T2" fmla="*/ 318 w 318"/>
              <a:gd name="T3" fmla="*/ 816 h 816"/>
            </a:gdLst>
            <a:ahLst/>
            <a:cxnLst>
              <a:cxn ang="0">
                <a:pos x="318" y="816"/>
              </a:cxn>
              <a:cxn ang="0">
                <a:pos x="0" y="816"/>
              </a:cxn>
              <a:cxn ang="0">
                <a:pos x="0" y="0"/>
              </a:cxn>
            </a:cxnLst>
            <a:rect l="T0" t="T1" r="T2" b="T3"/>
            <a:pathLst>
              <a:path w="318" h="816">
                <a:moveTo>
                  <a:pt x="318" y="816"/>
                </a:moveTo>
                <a:lnTo>
                  <a:pt x="0" y="816"/>
                </a:lnTo>
                <a:lnTo>
                  <a:pt x="0" y="0"/>
                </a:lnTo>
              </a:path>
            </a:pathLst>
          </a:custGeom>
          <a:noFill/>
          <a:ln w="63500" cmpd="sng">
            <a:solidFill>
              <a:srgbClr val="FFC8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91" name="Freeform 412"/>
          <p:cNvSpPr>
            <a:spLocks/>
          </p:cNvSpPr>
          <p:nvPr/>
        </p:nvSpPr>
        <p:spPr bwMode="auto">
          <a:xfrm>
            <a:off x="2051050" y="3305175"/>
            <a:ext cx="504825" cy="1295400"/>
          </a:xfrm>
          <a:custGeom>
            <a:avLst/>
            <a:gdLst>
              <a:gd name="T0" fmla="*/ 0 w 318"/>
              <a:gd name="T1" fmla="*/ 0 h 816"/>
              <a:gd name="T2" fmla="*/ 318 w 318"/>
              <a:gd name="T3" fmla="*/ 816 h 816"/>
            </a:gdLst>
            <a:ahLst/>
            <a:cxnLst>
              <a:cxn ang="0">
                <a:pos x="318" y="816"/>
              </a:cxn>
              <a:cxn ang="0">
                <a:pos x="0" y="816"/>
              </a:cxn>
              <a:cxn ang="0">
                <a:pos x="0" y="0"/>
              </a:cxn>
            </a:cxnLst>
            <a:rect l="T0" t="T1" r="T2" b="T3"/>
            <a:pathLst>
              <a:path w="318" h="816">
                <a:moveTo>
                  <a:pt x="318" y="816"/>
                </a:moveTo>
                <a:lnTo>
                  <a:pt x="0" y="816"/>
                </a:lnTo>
                <a:lnTo>
                  <a:pt x="0" y="0"/>
                </a:lnTo>
              </a:path>
            </a:pathLst>
          </a:custGeom>
          <a:noFill/>
          <a:ln w="63500" cmpd="sng">
            <a:solidFill>
              <a:schemeClr val="bg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92" name="AutoShape 413"/>
          <p:cNvSpPr>
            <a:spLocks noChangeArrowheads="1"/>
          </p:cNvSpPr>
          <p:nvPr/>
        </p:nvSpPr>
        <p:spPr bwMode="auto">
          <a:xfrm>
            <a:off x="846138" y="1477963"/>
            <a:ext cx="7488237" cy="1785937"/>
          </a:xfrm>
          <a:prstGeom prst="roundRect">
            <a:avLst>
              <a:gd name="adj" fmla="val 12343"/>
            </a:avLst>
          </a:prstGeom>
          <a:solidFill>
            <a:srgbClr val="C0C0C0">
              <a:alpha val="25000"/>
            </a:srgbClr>
          </a:solidFill>
          <a:ln w="19050" cmpd="sng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93" name="AutoShape 414"/>
          <p:cNvSpPr>
            <a:spLocks noChangeArrowheads="1"/>
          </p:cNvSpPr>
          <p:nvPr/>
        </p:nvSpPr>
        <p:spPr bwMode="auto">
          <a:xfrm>
            <a:off x="931863" y="1600200"/>
            <a:ext cx="2382837" cy="1533525"/>
          </a:xfrm>
          <a:prstGeom prst="roundRect">
            <a:avLst>
              <a:gd name="adj" fmla="val 11417"/>
            </a:avLst>
          </a:prstGeom>
          <a:gradFill>
            <a:gsLst>
              <a:gs pos="0">
                <a:schemeClr val="bg2">
                  <a:lumMod val="75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bg2">
                  <a:lumMod val="40000"/>
                  <a:lumOff val="60000"/>
                </a:schemeClr>
              </a:gs>
            </a:gsLst>
          </a:gra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ko-KR" altLang="en-US"/>
          </a:p>
        </p:txBody>
      </p:sp>
      <p:sp>
        <p:nvSpPr>
          <p:cNvPr id="94" name="AutoShape 415"/>
          <p:cNvSpPr>
            <a:spLocks noChangeArrowheads="1"/>
          </p:cNvSpPr>
          <p:nvPr/>
        </p:nvSpPr>
        <p:spPr bwMode="auto">
          <a:xfrm>
            <a:off x="3398838" y="1600200"/>
            <a:ext cx="2382837" cy="1533525"/>
          </a:xfrm>
          <a:prstGeom prst="roundRect">
            <a:avLst>
              <a:gd name="adj" fmla="val 11417"/>
            </a:avLst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ko-KR" altLang="en-US"/>
          </a:p>
        </p:txBody>
      </p:sp>
      <p:sp>
        <p:nvSpPr>
          <p:cNvPr id="95" name="AutoShape 416"/>
          <p:cNvSpPr>
            <a:spLocks noChangeArrowheads="1"/>
          </p:cNvSpPr>
          <p:nvPr/>
        </p:nvSpPr>
        <p:spPr bwMode="auto">
          <a:xfrm>
            <a:off x="5867400" y="1600200"/>
            <a:ext cx="2382838" cy="1533525"/>
          </a:xfrm>
          <a:prstGeom prst="roundRect">
            <a:avLst>
              <a:gd name="adj" fmla="val 11417"/>
            </a:avLst>
          </a:prstGeom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ko-KR" altLang="en-US"/>
          </a:p>
        </p:txBody>
      </p:sp>
      <p:grpSp>
        <p:nvGrpSpPr>
          <p:cNvPr id="96" name="Group 18"/>
          <p:cNvGrpSpPr>
            <a:grpSpLocks/>
          </p:cNvGrpSpPr>
          <p:nvPr/>
        </p:nvGrpSpPr>
        <p:grpSpPr bwMode="auto">
          <a:xfrm rot="10800000">
            <a:off x="2339975" y="3719513"/>
            <a:ext cx="1795463" cy="1404937"/>
            <a:chOff x="0" y="0"/>
            <a:chExt cx="930" cy="728"/>
          </a:xfrm>
        </p:grpSpPr>
        <p:sp>
          <p:nvSpPr>
            <p:cNvPr id="97" name="AutoShape 427"/>
            <p:cNvSpPr>
              <a:spLocks noChangeArrowheads="1"/>
            </p:cNvSpPr>
            <p:nvPr/>
          </p:nvSpPr>
          <p:spPr bwMode="auto">
            <a:xfrm>
              <a:off x="0" y="0"/>
              <a:ext cx="930" cy="728"/>
            </a:xfrm>
            <a:prstGeom prst="hexagon">
              <a:avLst>
                <a:gd name="adj" fmla="val 31937"/>
                <a:gd name="vf" fmla="val 115470"/>
              </a:avLst>
            </a:prstGeom>
            <a:solidFill>
              <a:schemeClr val="bg2"/>
            </a:solidFill>
            <a:ln w="9525" cmpd="sng">
              <a:miter lim="800000"/>
              <a:headEnd/>
              <a:tailEnd/>
            </a:ln>
            <a:scene3d>
              <a:camera prst="legacyObliqueBottom"/>
              <a:lightRig rig="legacyFlat3" dir="b"/>
            </a:scene3d>
            <a:sp3d extrusionH="430200" prstMaterial="legacyMatte">
              <a:bevelT w="13500" h="13500" prst="angle"/>
              <a:bevelB w="13500" h="13500" prst="angle"/>
              <a:extrusionClr>
                <a:schemeClr val="bg2"/>
              </a:extrusionClr>
            </a:sp3d>
          </p:spPr>
          <p:txBody>
            <a:bodyPr wrap="none" anchor="ctr">
              <a:flatTx/>
            </a:bodyPr>
            <a:lstStyle/>
            <a:p>
              <a:endParaRPr lang="ko-KR" altLang="en-US"/>
            </a:p>
          </p:txBody>
        </p:sp>
        <p:sp>
          <p:nvSpPr>
            <p:cNvPr id="98" name="AutoShape 428"/>
            <p:cNvSpPr>
              <a:spLocks noChangeArrowheads="1"/>
            </p:cNvSpPr>
            <p:nvPr/>
          </p:nvSpPr>
          <p:spPr bwMode="auto">
            <a:xfrm>
              <a:off x="0" y="0"/>
              <a:ext cx="929" cy="727"/>
            </a:xfrm>
            <a:prstGeom prst="hexagon">
              <a:avLst>
                <a:gd name="adj" fmla="val 31946"/>
                <a:gd name="vf" fmla="val 115470"/>
              </a:avLst>
            </a:prstGeom>
            <a:solidFill>
              <a:schemeClr val="bg2"/>
            </a:solidFill>
            <a:ln w="19050" cap="rnd" cmpd="sng">
              <a:solidFill>
                <a:schemeClr val="bg1"/>
              </a:solidFill>
              <a:prstDash val="sysDot"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</p:grpSp>
      <p:sp>
        <p:nvSpPr>
          <p:cNvPr id="99" name="AutoShape 430"/>
          <p:cNvSpPr>
            <a:spLocks noChangeArrowheads="1"/>
          </p:cNvSpPr>
          <p:nvPr/>
        </p:nvSpPr>
        <p:spPr bwMode="auto">
          <a:xfrm rot="10800000">
            <a:off x="5056188" y="3725863"/>
            <a:ext cx="1792287" cy="1400175"/>
          </a:xfrm>
          <a:prstGeom prst="hexagon">
            <a:avLst>
              <a:gd name="adj" fmla="val 32001"/>
              <a:gd name="vf" fmla="val 115470"/>
            </a:avLst>
          </a:prstGeom>
          <a:gradFill rotWithShape="1">
            <a:gsLst>
              <a:gs pos="0">
                <a:srgbClr val="FFC800"/>
              </a:gs>
              <a:gs pos="50000">
                <a:srgbClr val="B28C00"/>
              </a:gs>
              <a:gs pos="100000">
                <a:srgbClr val="FFC800"/>
              </a:gs>
            </a:gsLst>
            <a:lin ang="18900000" scaled="1"/>
          </a:gradFill>
          <a:ln w="9525" cmpd="sng">
            <a:miter lim="800000"/>
            <a:headEnd/>
            <a:tailEnd/>
          </a:ln>
          <a:scene3d>
            <a:camera prst="legacyObliqueBottom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rgbClr val="FFC800"/>
            </a:extrusionClr>
          </a:sp3d>
        </p:spPr>
        <p:txBody>
          <a:bodyPr wrap="none" anchor="ctr">
            <a:flatTx/>
          </a:bodyPr>
          <a:lstStyle/>
          <a:p>
            <a:endParaRPr lang="ko-KR" altLang="en-US"/>
          </a:p>
        </p:txBody>
      </p:sp>
      <p:sp>
        <p:nvSpPr>
          <p:cNvPr id="100" name="AutoShape 431"/>
          <p:cNvSpPr>
            <a:spLocks noChangeArrowheads="1"/>
          </p:cNvSpPr>
          <p:nvPr/>
        </p:nvSpPr>
        <p:spPr bwMode="auto">
          <a:xfrm rot="10800000">
            <a:off x="5056188" y="3725863"/>
            <a:ext cx="1792287" cy="1400175"/>
          </a:xfrm>
          <a:prstGeom prst="hexagon">
            <a:avLst>
              <a:gd name="adj" fmla="val 32001"/>
              <a:gd name="vf" fmla="val 115470"/>
            </a:avLst>
          </a:prstGeom>
          <a:noFill/>
          <a:ln w="19050" cap="rnd" cmpd="sng">
            <a:solidFill>
              <a:schemeClr val="bg1"/>
            </a:solidFill>
            <a:prstDash val="sysDot"/>
            <a:miter lim="800000"/>
            <a:headEnd/>
            <a:tailEnd/>
          </a:ln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101" name="AutoShape 432"/>
          <p:cNvSpPr>
            <a:spLocks noChangeArrowheads="1"/>
          </p:cNvSpPr>
          <p:nvPr/>
        </p:nvSpPr>
        <p:spPr bwMode="auto">
          <a:xfrm rot="10800000">
            <a:off x="3697288" y="4421188"/>
            <a:ext cx="1797050" cy="1404937"/>
          </a:xfrm>
          <a:prstGeom prst="hexagon">
            <a:avLst>
              <a:gd name="adj" fmla="val 31977"/>
              <a:gd name="vf" fmla="val 115470"/>
            </a:avLst>
          </a:prstGeom>
          <a:solidFill>
            <a:srgbClr val="FF2F00"/>
          </a:solidFill>
          <a:ln w="9525" cmpd="sng">
            <a:miter lim="800000"/>
            <a:headEnd/>
            <a:tailEnd/>
          </a:ln>
          <a:scene3d>
            <a:camera prst="legacyObliqueBottom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rgbClr val="FF2F00"/>
            </a:extrusionClr>
          </a:sp3d>
        </p:spPr>
        <p:txBody>
          <a:bodyPr wrap="none" anchor="ctr">
            <a:flatTx/>
          </a:bodyPr>
          <a:lstStyle/>
          <a:p>
            <a:endParaRPr lang="ko-KR" altLang="en-US"/>
          </a:p>
        </p:txBody>
      </p:sp>
      <p:sp>
        <p:nvSpPr>
          <p:cNvPr id="102" name="AutoShape 433"/>
          <p:cNvSpPr>
            <a:spLocks noChangeArrowheads="1"/>
          </p:cNvSpPr>
          <p:nvPr/>
        </p:nvSpPr>
        <p:spPr bwMode="auto">
          <a:xfrm rot="10800000">
            <a:off x="3695700" y="4424363"/>
            <a:ext cx="1795463" cy="1403350"/>
          </a:xfrm>
          <a:prstGeom prst="hexagon">
            <a:avLst>
              <a:gd name="adj" fmla="val 31985"/>
              <a:gd name="vf" fmla="val 115470"/>
            </a:avLst>
          </a:prstGeom>
          <a:noFill/>
          <a:ln w="19050" cap="rnd" cmpd="sng">
            <a:solidFill>
              <a:schemeClr val="bg1"/>
            </a:solidFill>
            <a:prstDash val="sysDot"/>
            <a:miter lim="800000"/>
            <a:headEnd/>
            <a:tailEnd/>
          </a:ln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103" name="Text Box 25"/>
          <p:cNvSpPr txBox="1">
            <a:spLocks noChangeArrowheads="1"/>
          </p:cNvSpPr>
          <p:nvPr/>
        </p:nvSpPr>
        <p:spPr bwMode="auto">
          <a:xfrm>
            <a:off x="1428728" y="2379655"/>
            <a:ext cx="1453674" cy="33680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600" dirty="0">
                <a:ea typeface="黑体" pitchFamily="49" charset="-122"/>
              </a:rPr>
              <a:t>此处添加内容</a:t>
            </a:r>
          </a:p>
        </p:txBody>
      </p:sp>
      <p:sp>
        <p:nvSpPr>
          <p:cNvPr id="104" name="Text Box 25"/>
          <p:cNvSpPr txBox="1">
            <a:spLocks noChangeArrowheads="1"/>
          </p:cNvSpPr>
          <p:nvPr/>
        </p:nvSpPr>
        <p:spPr bwMode="auto">
          <a:xfrm>
            <a:off x="1428728" y="1984894"/>
            <a:ext cx="1453674" cy="46166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2400" dirty="0" smtClean="0">
                <a:ea typeface="黑体" pitchFamily="49" charset="-122"/>
              </a:rPr>
              <a:t>文本</a:t>
            </a:r>
            <a:endParaRPr lang="zh-CN" altLang="en-US" sz="2400" dirty="0">
              <a:ea typeface="黑体" pitchFamily="49" charset="-122"/>
            </a:endParaRPr>
          </a:p>
        </p:txBody>
      </p:sp>
      <p:sp>
        <p:nvSpPr>
          <p:cNvPr id="105" name="Text Box 25"/>
          <p:cNvSpPr txBox="1">
            <a:spLocks noChangeArrowheads="1"/>
          </p:cNvSpPr>
          <p:nvPr/>
        </p:nvSpPr>
        <p:spPr bwMode="auto">
          <a:xfrm>
            <a:off x="3830630" y="2379655"/>
            <a:ext cx="1453674" cy="33680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600" dirty="0">
                <a:solidFill>
                  <a:schemeClr val="bg1"/>
                </a:solidFill>
                <a:ea typeface="黑体" pitchFamily="49" charset="-122"/>
              </a:rPr>
              <a:t>此处添加内容</a:t>
            </a:r>
          </a:p>
        </p:txBody>
      </p:sp>
      <p:sp>
        <p:nvSpPr>
          <p:cNvPr id="106" name="Text Box 25"/>
          <p:cNvSpPr txBox="1">
            <a:spLocks noChangeArrowheads="1"/>
          </p:cNvSpPr>
          <p:nvPr/>
        </p:nvSpPr>
        <p:spPr bwMode="auto">
          <a:xfrm>
            <a:off x="3830630" y="1984894"/>
            <a:ext cx="1453674" cy="46166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2400" dirty="0" smtClean="0">
                <a:solidFill>
                  <a:schemeClr val="bg1"/>
                </a:solidFill>
                <a:ea typeface="黑体" pitchFamily="49" charset="-122"/>
              </a:rPr>
              <a:t>文本</a:t>
            </a:r>
            <a:endParaRPr lang="zh-CN" altLang="en-US" sz="2400" dirty="0">
              <a:solidFill>
                <a:schemeClr val="bg1"/>
              </a:solidFill>
              <a:ea typeface="黑体" pitchFamily="49" charset="-122"/>
            </a:endParaRPr>
          </a:p>
        </p:txBody>
      </p:sp>
      <p:sp>
        <p:nvSpPr>
          <p:cNvPr id="107" name="Text Box 25"/>
          <p:cNvSpPr txBox="1">
            <a:spLocks noChangeArrowheads="1"/>
          </p:cNvSpPr>
          <p:nvPr/>
        </p:nvSpPr>
        <p:spPr bwMode="auto">
          <a:xfrm>
            <a:off x="6323002" y="2379655"/>
            <a:ext cx="1453674" cy="33680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600" dirty="0">
                <a:solidFill>
                  <a:schemeClr val="accent2">
                    <a:lumMod val="50000"/>
                  </a:schemeClr>
                </a:solidFill>
                <a:ea typeface="黑体" pitchFamily="49" charset="-122"/>
              </a:rPr>
              <a:t>此处添加内容</a:t>
            </a:r>
          </a:p>
        </p:txBody>
      </p:sp>
      <p:sp>
        <p:nvSpPr>
          <p:cNvPr id="108" name="Text Box 25"/>
          <p:cNvSpPr txBox="1">
            <a:spLocks noChangeArrowheads="1"/>
          </p:cNvSpPr>
          <p:nvPr/>
        </p:nvSpPr>
        <p:spPr bwMode="auto">
          <a:xfrm>
            <a:off x="6323002" y="1984894"/>
            <a:ext cx="1453674" cy="46166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2400" dirty="0" smtClean="0">
                <a:solidFill>
                  <a:schemeClr val="accent2">
                    <a:lumMod val="50000"/>
                  </a:schemeClr>
                </a:solidFill>
                <a:ea typeface="黑体" pitchFamily="49" charset="-122"/>
              </a:rPr>
              <a:t>文本</a:t>
            </a:r>
            <a:endParaRPr lang="zh-CN" altLang="en-US" sz="2400" dirty="0">
              <a:solidFill>
                <a:schemeClr val="accent2">
                  <a:lumMod val="50000"/>
                </a:schemeClr>
              </a:solidFill>
              <a:ea typeface="黑体" pitchFamily="49" charset="-122"/>
            </a:endParaRPr>
          </a:p>
        </p:txBody>
      </p:sp>
      <p:sp>
        <p:nvSpPr>
          <p:cNvPr id="109" name="Text Box 25"/>
          <p:cNvSpPr txBox="1">
            <a:spLocks noChangeArrowheads="1"/>
          </p:cNvSpPr>
          <p:nvPr/>
        </p:nvSpPr>
        <p:spPr bwMode="auto">
          <a:xfrm>
            <a:off x="2509830" y="4204226"/>
            <a:ext cx="1453674" cy="46166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2400" dirty="0" smtClean="0">
                <a:solidFill>
                  <a:schemeClr val="bg1"/>
                </a:solidFill>
                <a:ea typeface="黑体" pitchFamily="49" charset="-122"/>
              </a:rPr>
              <a:t>文本</a:t>
            </a:r>
            <a:endParaRPr lang="zh-CN" altLang="en-US" sz="2400" dirty="0">
              <a:solidFill>
                <a:schemeClr val="bg1"/>
              </a:solidFill>
              <a:ea typeface="黑体" pitchFamily="49" charset="-122"/>
            </a:endParaRPr>
          </a:p>
        </p:txBody>
      </p:sp>
      <p:sp>
        <p:nvSpPr>
          <p:cNvPr id="110" name="Text Box 25"/>
          <p:cNvSpPr txBox="1">
            <a:spLocks noChangeArrowheads="1"/>
          </p:cNvSpPr>
          <p:nvPr/>
        </p:nvSpPr>
        <p:spPr bwMode="auto">
          <a:xfrm>
            <a:off x="3874029" y="4894780"/>
            <a:ext cx="1453674" cy="46166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2400" dirty="0" smtClean="0">
                <a:solidFill>
                  <a:schemeClr val="bg1"/>
                </a:solidFill>
                <a:ea typeface="黑体" pitchFamily="49" charset="-122"/>
              </a:rPr>
              <a:t>文本</a:t>
            </a:r>
            <a:endParaRPr lang="zh-CN" altLang="en-US" sz="2400" dirty="0">
              <a:solidFill>
                <a:schemeClr val="bg1"/>
              </a:solidFill>
              <a:ea typeface="黑体" pitchFamily="49" charset="-122"/>
            </a:endParaRPr>
          </a:p>
        </p:txBody>
      </p:sp>
      <p:sp>
        <p:nvSpPr>
          <p:cNvPr id="111" name="Text Box 25"/>
          <p:cNvSpPr txBox="1">
            <a:spLocks noChangeArrowheads="1"/>
          </p:cNvSpPr>
          <p:nvPr/>
        </p:nvSpPr>
        <p:spPr bwMode="auto">
          <a:xfrm>
            <a:off x="5218639" y="4210554"/>
            <a:ext cx="1453674" cy="46166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2400" dirty="0" smtClean="0">
                <a:solidFill>
                  <a:schemeClr val="accent2">
                    <a:lumMod val="50000"/>
                  </a:schemeClr>
                </a:solidFill>
                <a:ea typeface="黑体" pitchFamily="49" charset="-122"/>
              </a:rPr>
              <a:t>文本</a:t>
            </a:r>
            <a:endParaRPr lang="zh-CN" altLang="en-US" sz="2400" dirty="0">
              <a:solidFill>
                <a:schemeClr val="accent2">
                  <a:lumMod val="50000"/>
                </a:schemeClr>
              </a:solidFill>
              <a:ea typeface="黑体" pitchFamily="49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500"/>
                            </p:stCondLst>
                            <p:childTnLst>
                              <p:par>
                                <p:cTn id="34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500"/>
                            </p:stCondLst>
                            <p:childTnLst>
                              <p:par>
                                <p:cTn id="46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000"/>
                            </p:stCondLst>
                            <p:childTnLst>
                              <p:par>
                                <p:cTn id="53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4500"/>
                            </p:stCondLst>
                            <p:childTnLst>
                              <p:par>
                                <p:cTn id="6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0"/>
                            </p:stCondLst>
                            <p:childTnLst>
                              <p:par>
                                <p:cTn id="6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500"/>
                            </p:stCondLst>
                            <p:childTnLst>
                              <p:par>
                                <p:cTn id="7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6000"/>
                            </p:stCondLst>
                            <p:childTnLst>
                              <p:par>
                                <p:cTn id="7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6500"/>
                            </p:stCondLst>
                            <p:childTnLst>
                              <p:par>
                                <p:cTn id="84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7000"/>
                            </p:stCondLst>
                            <p:childTnLst>
                              <p:par>
                                <p:cTn id="91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7500"/>
                            </p:stCondLst>
                            <p:childTnLst>
                              <p:par>
                                <p:cTn id="9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00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8000"/>
                            </p:stCondLst>
                            <p:childTnLst>
                              <p:par>
                                <p:cTn id="10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04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8500"/>
                            </p:stCondLst>
                            <p:childTnLst>
                              <p:par>
                                <p:cTn id="10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08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9000"/>
                            </p:stCondLst>
                            <p:childTnLst>
                              <p:par>
                                <p:cTn id="11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12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9" grpId="0" animBg="1"/>
      <p:bldP spid="90" grpId="0" animBg="1"/>
      <p:bldP spid="91" grpId="0" animBg="1"/>
      <p:bldP spid="92" grpId="0" animBg="1"/>
      <p:bldP spid="93" grpId="0" animBg="1"/>
      <p:bldP spid="94" grpId="0" animBg="1"/>
      <p:bldP spid="95" grpId="0" animBg="1"/>
      <p:bldP spid="99" grpId="0" animBg="1"/>
      <p:bldP spid="101" grpId="0" animBg="1"/>
      <p:bldP spid="103" grpId="0"/>
      <p:bldP spid="104" grpId="0"/>
      <p:bldP spid="105" grpId="0"/>
      <p:bldP spid="106" grpId="0"/>
      <p:bldP spid="107" grpId="0"/>
      <p:bldP spid="108" grpId="0"/>
      <p:bldP spid="109" grpId="0"/>
      <p:bldP spid="110" grpId="0"/>
      <p:bldP spid="111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矩形 45"/>
          <p:cNvSpPr/>
          <p:nvPr/>
        </p:nvSpPr>
        <p:spPr>
          <a:xfrm>
            <a:off x="2286000" y="5168915"/>
            <a:ext cx="4480404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spc="300" dirty="0">
                <a:ln w="1270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rgbClr val="00B0F0"/>
                    </a:gs>
                    <a:gs pos="75000">
                      <a:srgbClr val="002774"/>
                    </a:gs>
                  </a:gsLst>
                  <a:lin ang="5400000"/>
                </a:gradFill>
                <a:effectLst>
                  <a:glow rad="45500">
                    <a:srgbClr val="00B0F0">
                      <a:alpha val="35000"/>
                    </a:srgbClr>
                  </a:glow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grpSp>
        <p:nvGrpSpPr>
          <p:cNvPr id="35" name="组合 34"/>
          <p:cNvGrpSpPr/>
          <p:nvPr/>
        </p:nvGrpSpPr>
        <p:grpSpPr>
          <a:xfrm>
            <a:off x="1098860" y="2686538"/>
            <a:ext cx="1980000" cy="1620000"/>
            <a:chOff x="1098860" y="2811951"/>
            <a:chExt cx="1980000" cy="1620000"/>
          </a:xfrm>
        </p:grpSpPr>
        <p:sp>
          <p:nvSpPr>
            <p:cNvPr id="41" name="上箭头 40"/>
            <p:cNvSpPr/>
            <p:nvPr/>
          </p:nvSpPr>
          <p:spPr>
            <a:xfrm>
              <a:off x="1098860" y="2811951"/>
              <a:ext cx="1980000" cy="1620000"/>
            </a:xfrm>
            <a:prstGeom prst="upArrow">
              <a:avLst>
                <a:gd name="adj1" fmla="val 61884"/>
                <a:gd name="adj2" fmla="val 49610"/>
              </a:avLst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16200000" scaled="1"/>
              <a:tileRect/>
            </a:gradFill>
            <a:ln w="31750">
              <a:solidFill>
                <a:schemeClr val="bg1"/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2540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tabLst>
                  <a:tab pos="136525" algn="l"/>
                </a:tabLst>
                <a:defRPr/>
              </a:pPr>
              <a:endParaRPr lang="zh-CN" altLang="en-US" sz="15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1" name="AutoShape 69"/>
            <p:cNvSpPr>
              <a:spLocks noChangeArrowheads="1"/>
            </p:cNvSpPr>
            <p:nvPr/>
          </p:nvSpPr>
          <p:spPr bwMode="gray">
            <a:xfrm rot="16200000" flipV="1">
              <a:off x="1945481" y="3647282"/>
              <a:ext cx="287337" cy="431800"/>
            </a:xfrm>
            <a:prstGeom prst="chevron">
              <a:avLst>
                <a:gd name="adj" fmla="val 52514"/>
              </a:avLst>
            </a:prstGeom>
            <a:noFill/>
            <a:ln w="19050">
              <a:solidFill>
                <a:schemeClr val="bg1">
                  <a:alpha val="55000"/>
                </a:schemeClr>
              </a:solidFill>
              <a:prstDash val="sysDash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2" name="AutoShape 69"/>
            <p:cNvSpPr>
              <a:spLocks noChangeArrowheads="1"/>
            </p:cNvSpPr>
            <p:nvPr/>
          </p:nvSpPr>
          <p:spPr bwMode="gray">
            <a:xfrm rot="16200000" flipV="1">
              <a:off x="1945481" y="3342482"/>
              <a:ext cx="287337" cy="431800"/>
            </a:xfrm>
            <a:prstGeom prst="chevron">
              <a:avLst>
                <a:gd name="adj" fmla="val 52514"/>
              </a:avLst>
            </a:prstGeom>
            <a:noFill/>
            <a:ln w="19050">
              <a:solidFill>
                <a:schemeClr val="bg1">
                  <a:alpha val="40000"/>
                </a:schemeClr>
              </a:solidFill>
              <a:prstDash val="sysDash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7" name="AutoShape 69"/>
            <p:cNvSpPr>
              <a:spLocks noChangeArrowheads="1"/>
            </p:cNvSpPr>
            <p:nvPr/>
          </p:nvSpPr>
          <p:spPr bwMode="gray">
            <a:xfrm rot="16200000" flipV="1">
              <a:off x="1945481" y="3037682"/>
              <a:ext cx="287337" cy="431800"/>
            </a:xfrm>
            <a:prstGeom prst="chevron">
              <a:avLst>
                <a:gd name="adj" fmla="val 52514"/>
              </a:avLst>
            </a:prstGeom>
            <a:noFill/>
            <a:ln w="19050">
              <a:solidFill>
                <a:schemeClr val="bg1">
                  <a:alpha val="25000"/>
                </a:schemeClr>
              </a:solidFill>
              <a:prstDash val="sysDash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36" name="组合 35"/>
          <p:cNvGrpSpPr/>
          <p:nvPr/>
        </p:nvGrpSpPr>
        <p:grpSpPr>
          <a:xfrm>
            <a:off x="3545281" y="2326538"/>
            <a:ext cx="1980000" cy="1980000"/>
            <a:chOff x="3545281" y="2451951"/>
            <a:chExt cx="1980000" cy="1980000"/>
          </a:xfrm>
        </p:grpSpPr>
        <p:sp>
          <p:nvSpPr>
            <p:cNvPr id="42" name="上箭头 41"/>
            <p:cNvSpPr/>
            <p:nvPr/>
          </p:nvSpPr>
          <p:spPr>
            <a:xfrm>
              <a:off x="3545281" y="2451951"/>
              <a:ext cx="1980000" cy="1980000"/>
            </a:xfrm>
            <a:prstGeom prst="upArrow">
              <a:avLst>
                <a:gd name="adj1" fmla="val 61884"/>
                <a:gd name="adj2" fmla="val 41845"/>
              </a:avLst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16200000" scaled="1"/>
              <a:tileRect/>
            </a:gradFill>
            <a:ln w="31750">
              <a:solidFill>
                <a:schemeClr val="bg1"/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2540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tabLst>
                  <a:tab pos="136525" algn="l"/>
                </a:tabLst>
                <a:defRPr/>
              </a:pPr>
              <a:endParaRPr lang="zh-CN" altLang="en-US" sz="15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3" name="AutoShape 69"/>
            <p:cNvSpPr>
              <a:spLocks noChangeArrowheads="1"/>
            </p:cNvSpPr>
            <p:nvPr/>
          </p:nvSpPr>
          <p:spPr bwMode="gray">
            <a:xfrm rot="16200000" flipV="1">
              <a:off x="4391819" y="3647282"/>
              <a:ext cx="287337" cy="431800"/>
            </a:xfrm>
            <a:prstGeom prst="chevron">
              <a:avLst>
                <a:gd name="adj" fmla="val 52514"/>
              </a:avLst>
            </a:prstGeom>
            <a:noFill/>
            <a:ln w="19050">
              <a:solidFill>
                <a:schemeClr val="bg1">
                  <a:alpha val="55000"/>
                </a:schemeClr>
              </a:solidFill>
              <a:prstDash val="sysDash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4" name="AutoShape 69"/>
            <p:cNvSpPr>
              <a:spLocks noChangeArrowheads="1"/>
            </p:cNvSpPr>
            <p:nvPr/>
          </p:nvSpPr>
          <p:spPr bwMode="gray">
            <a:xfrm rot="16200000" flipV="1">
              <a:off x="4391819" y="3342482"/>
              <a:ext cx="287337" cy="431800"/>
            </a:xfrm>
            <a:prstGeom prst="chevron">
              <a:avLst>
                <a:gd name="adj" fmla="val 52514"/>
              </a:avLst>
            </a:prstGeom>
            <a:noFill/>
            <a:ln w="19050">
              <a:solidFill>
                <a:schemeClr val="bg1">
                  <a:alpha val="40000"/>
                </a:schemeClr>
              </a:solidFill>
              <a:prstDash val="sysDash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8" name="AutoShape 69"/>
            <p:cNvSpPr>
              <a:spLocks noChangeArrowheads="1"/>
            </p:cNvSpPr>
            <p:nvPr/>
          </p:nvSpPr>
          <p:spPr bwMode="gray">
            <a:xfrm rot="16200000" flipV="1">
              <a:off x="4391819" y="3037682"/>
              <a:ext cx="287337" cy="431800"/>
            </a:xfrm>
            <a:prstGeom prst="chevron">
              <a:avLst>
                <a:gd name="adj" fmla="val 52514"/>
              </a:avLst>
            </a:prstGeom>
            <a:noFill/>
            <a:ln w="19050">
              <a:solidFill>
                <a:schemeClr val="bg1">
                  <a:alpha val="25000"/>
                </a:schemeClr>
              </a:solidFill>
              <a:prstDash val="sysDash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0" name="AutoShape 69"/>
            <p:cNvSpPr>
              <a:spLocks noChangeArrowheads="1"/>
            </p:cNvSpPr>
            <p:nvPr/>
          </p:nvSpPr>
          <p:spPr bwMode="gray">
            <a:xfrm rot="16200000" flipV="1">
              <a:off x="4391819" y="2732882"/>
              <a:ext cx="287337" cy="431800"/>
            </a:xfrm>
            <a:prstGeom prst="chevron">
              <a:avLst>
                <a:gd name="adj" fmla="val 52514"/>
              </a:avLst>
            </a:prstGeom>
            <a:noFill/>
            <a:ln w="19050">
              <a:solidFill>
                <a:schemeClr val="bg1">
                  <a:alpha val="10000"/>
                </a:schemeClr>
              </a:solidFill>
              <a:prstDash val="sysDash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61" name="矩形 60"/>
          <p:cNvSpPr/>
          <p:nvPr/>
        </p:nvSpPr>
        <p:spPr>
          <a:xfrm>
            <a:off x="1373188" y="2136775"/>
            <a:ext cx="1430337" cy="5238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点击添加文本</a:t>
            </a:r>
          </a:p>
        </p:txBody>
      </p:sp>
      <p:sp>
        <p:nvSpPr>
          <p:cNvPr id="63" name="矩形 62"/>
          <p:cNvSpPr/>
          <p:nvPr/>
        </p:nvSpPr>
        <p:spPr>
          <a:xfrm>
            <a:off x="3816350" y="1752600"/>
            <a:ext cx="1430338" cy="522287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点击添加文本</a:t>
            </a:r>
          </a:p>
        </p:txBody>
      </p:sp>
      <p:sp>
        <p:nvSpPr>
          <p:cNvPr id="44" name="椭圆 43"/>
          <p:cNvSpPr/>
          <p:nvPr/>
        </p:nvSpPr>
        <p:spPr bwMode="auto">
          <a:xfrm>
            <a:off x="1044860" y="3435227"/>
            <a:ext cx="2088000" cy="1512000"/>
          </a:xfrm>
          <a:prstGeom prst="ellipse">
            <a:avLst/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>
            <a:solidFill>
              <a:schemeClr val="bg1"/>
            </a:solidFill>
          </a:ln>
          <a:effectLst>
            <a:outerShdw blurRad="127000" dist="762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17699985" lon="0" rev="0"/>
            </a:camera>
            <a:lightRig rig="threePt" dir="t">
              <a:rot lat="0" lon="0" rev="0"/>
            </a:lightRig>
          </a:scene3d>
          <a:sp3d extrusionH="279400" prstMaterial="plastic">
            <a:bevelT w="139700" h="152400"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ea typeface="微软雅黑" pitchFamily="34" charset="-122"/>
            </a:endParaRPr>
          </a:p>
        </p:txBody>
      </p:sp>
      <p:sp>
        <p:nvSpPr>
          <p:cNvPr id="45" name="TextBox 20"/>
          <p:cNvSpPr txBox="1">
            <a:spLocks noChangeArrowheads="1"/>
          </p:cNvSpPr>
          <p:nvPr/>
        </p:nvSpPr>
        <p:spPr bwMode="auto">
          <a:xfrm>
            <a:off x="1311348" y="4021950"/>
            <a:ext cx="1555025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分标题一</a:t>
            </a:r>
          </a:p>
        </p:txBody>
      </p:sp>
      <p:sp>
        <p:nvSpPr>
          <p:cNvPr id="47" name="椭圆 46"/>
          <p:cNvSpPr/>
          <p:nvPr/>
        </p:nvSpPr>
        <p:spPr bwMode="auto">
          <a:xfrm>
            <a:off x="3491281" y="3435227"/>
            <a:ext cx="2088000" cy="1512000"/>
          </a:xfrm>
          <a:prstGeom prst="ellipse">
            <a:avLst/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>
            <a:solidFill>
              <a:schemeClr val="bg1"/>
            </a:solidFill>
          </a:ln>
          <a:effectLst>
            <a:outerShdw blurRad="127000" dist="762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17699985" lon="0" rev="0"/>
            </a:camera>
            <a:lightRig rig="threePt" dir="t">
              <a:rot lat="0" lon="0" rev="0"/>
            </a:lightRig>
          </a:scene3d>
          <a:sp3d extrusionH="279400" prstMaterial="plastic">
            <a:bevelT w="139700" h="152400"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ea typeface="微软雅黑" pitchFamily="34" charset="-122"/>
            </a:endParaRPr>
          </a:p>
        </p:txBody>
      </p:sp>
      <p:sp>
        <p:nvSpPr>
          <p:cNvPr id="48" name="TextBox 20"/>
          <p:cNvSpPr txBox="1">
            <a:spLocks noChangeArrowheads="1"/>
          </p:cNvSpPr>
          <p:nvPr/>
        </p:nvSpPr>
        <p:spPr bwMode="auto">
          <a:xfrm>
            <a:off x="3757769" y="4021950"/>
            <a:ext cx="1555025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分标题二</a:t>
            </a:r>
          </a:p>
        </p:txBody>
      </p:sp>
      <p:grpSp>
        <p:nvGrpSpPr>
          <p:cNvPr id="38" name="组合 37"/>
          <p:cNvGrpSpPr/>
          <p:nvPr/>
        </p:nvGrpSpPr>
        <p:grpSpPr>
          <a:xfrm>
            <a:off x="6005989" y="2707298"/>
            <a:ext cx="1980000" cy="1620000"/>
            <a:chOff x="1098860" y="2811951"/>
            <a:chExt cx="1980000" cy="1620000"/>
          </a:xfrm>
        </p:grpSpPr>
        <p:sp>
          <p:nvSpPr>
            <p:cNvPr id="64" name="上箭头 63"/>
            <p:cNvSpPr/>
            <p:nvPr/>
          </p:nvSpPr>
          <p:spPr>
            <a:xfrm>
              <a:off x="1098860" y="2811951"/>
              <a:ext cx="1980000" cy="1620000"/>
            </a:xfrm>
            <a:prstGeom prst="upArrow">
              <a:avLst>
                <a:gd name="adj1" fmla="val 61884"/>
                <a:gd name="adj2" fmla="val 49610"/>
              </a:avLst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16200000" scaled="1"/>
              <a:tileRect/>
            </a:gradFill>
            <a:ln w="31750">
              <a:solidFill>
                <a:schemeClr val="bg1"/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2540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tabLst>
                  <a:tab pos="136525" algn="l"/>
                </a:tabLst>
                <a:defRPr/>
              </a:pPr>
              <a:endParaRPr lang="zh-CN" altLang="en-US" sz="15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5" name="AutoShape 69"/>
            <p:cNvSpPr>
              <a:spLocks noChangeArrowheads="1"/>
            </p:cNvSpPr>
            <p:nvPr/>
          </p:nvSpPr>
          <p:spPr bwMode="gray">
            <a:xfrm rot="16200000" flipV="1">
              <a:off x="1945481" y="3647282"/>
              <a:ext cx="287337" cy="431800"/>
            </a:xfrm>
            <a:prstGeom prst="chevron">
              <a:avLst>
                <a:gd name="adj" fmla="val 52514"/>
              </a:avLst>
            </a:prstGeom>
            <a:noFill/>
            <a:ln w="19050">
              <a:solidFill>
                <a:schemeClr val="bg1">
                  <a:alpha val="55000"/>
                </a:schemeClr>
              </a:solidFill>
              <a:prstDash val="sysDash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6" name="AutoShape 69"/>
            <p:cNvSpPr>
              <a:spLocks noChangeArrowheads="1"/>
            </p:cNvSpPr>
            <p:nvPr/>
          </p:nvSpPr>
          <p:spPr bwMode="gray">
            <a:xfrm rot="16200000" flipV="1">
              <a:off x="1945481" y="3342482"/>
              <a:ext cx="287337" cy="431800"/>
            </a:xfrm>
            <a:prstGeom prst="chevron">
              <a:avLst>
                <a:gd name="adj" fmla="val 52514"/>
              </a:avLst>
            </a:prstGeom>
            <a:noFill/>
            <a:ln w="19050">
              <a:solidFill>
                <a:schemeClr val="bg1">
                  <a:alpha val="40000"/>
                </a:schemeClr>
              </a:solidFill>
              <a:prstDash val="sysDash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7" name="AutoShape 69"/>
            <p:cNvSpPr>
              <a:spLocks noChangeArrowheads="1"/>
            </p:cNvSpPr>
            <p:nvPr/>
          </p:nvSpPr>
          <p:spPr bwMode="gray">
            <a:xfrm rot="16200000" flipV="1">
              <a:off x="1945481" y="3037682"/>
              <a:ext cx="287337" cy="431800"/>
            </a:xfrm>
            <a:prstGeom prst="chevron">
              <a:avLst>
                <a:gd name="adj" fmla="val 52514"/>
              </a:avLst>
            </a:prstGeom>
            <a:noFill/>
            <a:ln w="19050">
              <a:solidFill>
                <a:schemeClr val="bg1">
                  <a:alpha val="25000"/>
                </a:schemeClr>
              </a:solidFill>
              <a:prstDash val="sysDash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68" name="矩形 67"/>
          <p:cNvSpPr/>
          <p:nvPr/>
        </p:nvSpPr>
        <p:spPr>
          <a:xfrm>
            <a:off x="6280317" y="2157535"/>
            <a:ext cx="1430337" cy="5238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点击添加文本</a:t>
            </a:r>
          </a:p>
        </p:txBody>
      </p:sp>
      <p:sp>
        <p:nvSpPr>
          <p:cNvPr id="69" name="椭圆 68"/>
          <p:cNvSpPr/>
          <p:nvPr/>
        </p:nvSpPr>
        <p:spPr bwMode="auto">
          <a:xfrm>
            <a:off x="5951989" y="3455987"/>
            <a:ext cx="2088000" cy="1512000"/>
          </a:xfrm>
          <a:prstGeom prst="ellipse">
            <a:avLst/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>
            <a:solidFill>
              <a:schemeClr val="bg1"/>
            </a:solidFill>
          </a:ln>
          <a:effectLst>
            <a:outerShdw blurRad="127000" dist="762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17699985" lon="0" rev="0"/>
            </a:camera>
            <a:lightRig rig="threePt" dir="t">
              <a:rot lat="0" lon="0" rev="0"/>
            </a:lightRig>
          </a:scene3d>
          <a:sp3d extrusionH="279400" prstMaterial="plastic">
            <a:bevelT w="139700" h="152400"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ea typeface="微软雅黑" pitchFamily="34" charset="-122"/>
            </a:endParaRPr>
          </a:p>
        </p:txBody>
      </p:sp>
      <p:sp>
        <p:nvSpPr>
          <p:cNvPr id="70" name="TextBox 20"/>
          <p:cNvSpPr txBox="1">
            <a:spLocks noChangeArrowheads="1"/>
          </p:cNvSpPr>
          <p:nvPr/>
        </p:nvSpPr>
        <p:spPr bwMode="auto">
          <a:xfrm>
            <a:off x="6218477" y="4042710"/>
            <a:ext cx="1555025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分标题一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5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500"/>
                            </p:stCondLst>
                            <p:childTnLst>
                              <p:par>
                                <p:cTn id="29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1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500"/>
                            </p:stCondLst>
                            <p:childTnLst>
                              <p:par>
                                <p:cTn id="3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0"/>
                            </p:stCondLst>
                            <p:childTnLst>
                              <p:par>
                                <p:cTn id="3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9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500"/>
                            </p:stCondLst>
                            <p:childTnLst>
                              <p:par>
                                <p:cTn id="41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6000"/>
                            </p:stCondLst>
                            <p:childTnLst>
                              <p:par>
                                <p:cTn id="4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7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7000"/>
                            </p:stCondLst>
                            <p:childTnLst>
                              <p:par>
                                <p:cTn id="4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7500"/>
                            </p:stCondLst>
                            <p:childTnLst>
                              <p:par>
                                <p:cTn id="53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/>
      <p:bldP spid="61" grpId="0"/>
      <p:bldP spid="63" grpId="0"/>
      <p:bldP spid="44" grpId="0" animBg="1"/>
      <p:bldP spid="45" grpId="0"/>
      <p:bldP spid="47" grpId="0" animBg="1"/>
      <p:bldP spid="48" grpId="0"/>
      <p:bldP spid="68" grpId="0"/>
      <p:bldP spid="69" grpId="0" animBg="1"/>
      <p:bldP spid="70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圆角矩形 69"/>
          <p:cNvSpPr/>
          <p:nvPr/>
        </p:nvSpPr>
        <p:spPr>
          <a:xfrm rot="20640000">
            <a:off x="3094536" y="3298289"/>
            <a:ext cx="1537327" cy="720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162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1" name="圆角矩形 70"/>
          <p:cNvSpPr/>
          <p:nvPr/>
        </p:nvSpPr>
        <p:spPr>
          <a:xfrm rot="900000">
            <a:off x="3088287" y="3827560"/>
            <a:ext cx="1517846" cy="720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162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8" name="圆角矩形 77"/>
          <p:cNvSpPr/>
          <p:nvPr/>
        </p:nvSpPr>
        <p:spPr>
          <a:xfrm rot="19320000">
            <a:off x="2963769" y="2711998"/>
            <a:ext cx="1764000" cy="720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162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9" name="圆角矩形 78"/>
          <p:cNvSpPr/>
          <p:nvPr/>
        </p:nvSpPr>
        <p:spPr>
          <a:xfrm rot="2400000">
            <a:off x="2945371" y="4349023"/>
            <a:ext cx="1764000" cy="720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162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80" name="组合 56"/>
          <p:cNvGrpSpPr>
            <a:grpSpLocks/>
          </p:cNvGrpSpPr>
          <p:nvPr/>
        </p:nvGrpSpPr>
        <p:grpSpPr bwMode="auto">
          <a:xfrm>
            <a:off x="2574468" y="2875395"/>
            <a:ext cx="1450975" cy="1398588"/>
            <a:chOff x="3440653" y="2680764"/>
            <a:chExt cx="2329340" cy="2245772"/>
          </a:xfrm>
        </p:grpSpPr>
        <p:grpSp>
          <p:nvGrpSpPr>
            <p:cNvPr id="81" name="组合 43"/>
            <p:cNvGrpSpPr>
              <a:grpSpLocks noChangeAspect="1"/>
            </p:cNvGrpSpPr>
            <p:nvPr/>
          </p:nvGrpSpPr>
          <p:grpSpPr bwMode="auto">
            <a:xfrm>
              <a:off x="3440653" y="2680764"/>
              <a:ext cx="2245772" cy="2245772"/>
              <a:chOff x="5217600" y="3058600"/>
              <a:chExt cx="1116000" cy="1116000"/>
            </a:xfrm>
          </p:grpSpPr>
          <p:sp>
            <p:nvSpPr>
              <p:cNvPr id="83" name="Oval 2"/>
              <p:cNvSpPr>
                <a:spLocks noChangeAspect="1" noChangeArrowheads="1"/>
              </p:cNvSpPr>
              <p:nvPr/>
            </p:nvSpPr>
            <p:spPr bwMode="auto">
              <a:xfrm>
                <a:off x="5217600" y="3058600"/>
                <a:ext cx="1116000" cy="1116000"/>
              </a:xfrm>
              <a:prstGeom prst="ellipse">
                <a:avLst/>
              </a:prstGeom>
              <a:gradFill flip="none" rotWithShape="1">
                <a:gsLst>
                  <a:gs pos="0">
                    <a:srgbClr val="FFCF01"/>
                  </a:gs>
                  <a:gs pos="90000">
                    <a:srgbClr val="E22000"/>
                  </a:gs>
                </a:gsLst>
                <a:lin ang="2700000" scaled="1"/>
                <a:tileRect/>
              </a:gradFill>
              <a:ln w="25400">
                <a:noFill/>
              </a:ln>
              <a:effectLst>
                <a:outerShdw blurRad="225425" dist="38100" dir="5220000" algn="ctr">
                  <a:srgbClr val="000000">
                    <a:alpha val="33000"/>
                  </a:srgbClr>
                </a:outerShdw>
              </a:effectLst>
              <a:scene3d>
                <a:camera prst="orthographicFront"/>
                <a:lightRig rig="flat" dir="t"/>
              </a:scene3d>
              <a:sp3d extrusionH="304800" contourW="19050">
                <a:bevelT prst="convex"/>
                <a:bevelB w="0" h="0"/>
                <a:contourClr>
                  <a:srgbClr val="FFE593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>
                <a:sp3d/>
              </a:bodyPr>
              <a:lstStyle/>
              <a:p>
                <a:pPr algn="ctr" eaLnBrk="0" fontAlgn="ctr" hangingPunct="0">
                  <a:spcBef>
                    <a:spcPts val="0"/>
                  </a:spcBef>
                  <a:spcAft>
                    <a:spcPts val="0"/>
                  </a:spcAft>
                  <a:buClr>
                    <a:srgbClr val="FF0000"/>
                  </a:buClr>
                  <a:buSzPct val="70000"/>
                  <a:defRPr/>
                </a:pPr>
                <a:endParaRPr lang="fr-FR" altLang="zh-CN" sz="16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84" name="椭圆 83"/>
              <p:cNvSpPr>
                <a:spLocks/>
              </p:cNvSpPr>
              <p:nvPr/>
            </p:nvSpPr>
            <p:spPr>
              <a:xfrm rot="19388639">
                <a:off x="5221400" y="3127004"/>
                <a:ext cx="757332" cy="539632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45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dirty="0">
                  <a:solidFill>
                    <a:srgbClr val="FFFFFF"/>
                  </a:solidFill>
                  <a:ea typeface="微软雅黑" pitchFamily="34" charset="-122"/>
                </a:endParaRPr>
              </a:p>
            </p:txBody>
          </p:sp>
          <p:sp>
            <p:nvSpPr>
              <p:cNvPr id="85" name="椭圆 84"/>
              <p:cNvSpPr/>
              <p:nvPr/>
            </p:nvSpPr>
            <p:spPr>
              <a:xfrm>
                <a:off x="5327131" y="3179241"/>
                <a:ext cx="846138" cy="849318"/>
              </a:xfrm>
              <a:prstGeom prst="ellipse">
                <a:avLst/>
              </a:prstGeom>
              <a:gradFill flip="none" rotWithShape="1">
                <a:gsLst>
                  <a:gs pos="10000">
                    <a:srgbClr val="FFC000">
                      <a:alpha val="60000"/>
                    </a:srgbClr>
                  </a:gs>
                  <a:gs pos="70000">
                    <a:schemeClr val="bg1">
                      <a:alpha val="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400" dirty="0">
                  <a:solidFill>
                    <a:srgbClr val="FFFFFF"/>
                  </a:solidFill>
                  <a:ea typeface="微软雅黑" pitchFamily="34" charset="-122"/>
                </a:endParaRPr>
              </a:p>
            </p:txBody>
          </p:sp>
        </p:grpSp>
        <p:sp>
          <p:nvSpPr>
            <p:cNvPr id="82" name="Text Box 29"/>
            <p:cNvSpPr txBox="1">
              <a:spLocks noChangeArrowheads="1"/>
            </p:cNvSpPr>
            <p:nvPr/>
          </p:nvSpPr>
          <p:spPr bwMode="gray">
            <a:xfrm>
              <a:off x="3464942" y="3492525"/>
              <a:ext cx="2305051" cy="5438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29997" dir="5400000" sy="-100000" algn="bl" rotWithShape="0"/>
                  </a:effectLst>
                  <a:latin typeface="微软雅黑" pitchFamily="34" charset="-122"/>
                  <a:ea typeface="微软雅黑" pitchFamily="34" charset="-122"/>
                </a:rPr>
                <a:t>添加标题</a:t>
              </a:r>
            </a:p>
          </p:txBody>
        </p:sp>
      </p:grpSp>
      <p:sp>
        <p:nvSpPr>
          <p:cNvPr id="86" name="圆角矩形 85"/>
          <p:cNvSpPr/>
          <p:nvPr/>
        </p:nvSpPr>
        <p:spPr bwMode="auto">
          <a:xfrm>
            <a:off x="4587799" y="3712784"/>
            <a:ext cx="3686405" cy="628650"/>
          </a:xfrm>
          <a:prstGeom prst="roundRect">
            <a:avLst>
              <a:gd name="adj" fmla="val 7848"/>
            </a:avLst>
          </a:prstGeom>
          <a:gradFill flip="none" rotWithShape="1">
            <a:gsLst>
              <a:gs pos="3000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2700000" scaled="1"/>
            <a:tileRect/>
          </a:gradFill>
          <a:ln w="38100">
            <a:gradFill>
              <a:gsLst>
                <a:gs pos="0">
                  <a:srgbClr val="00B0F0"/>
                </a:gs>
                <a:gs pos="100000">
                  <a:srgbClr val="00206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65100" h="1270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7" name="矩形 87"/>
          <p:cNvSpPr>
            <a:spLocks noChangeArrowheads="1"/>
          </p:cNvSpPr>
          <p:nvPr/>
        </p:nvSpPr>
        <p:spPr bwMode="auto">
          <a:xfrm>
            <a:off x="4724400" y="3872345"/>
            <a:ext cx="32083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点击添加文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本 点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击添加文本</a:t>
            </a:r>
          </a:p>
        </p:txBody>
      </p:sp>
      <p:sp>
        <p:nvSpPr>
          <p:cNvPr id="88" name="圆角矩形 87"/>
          <p:cNvSpPr/>
          <p:nvPr/>
        </p:nvSpPr>
        <p:spPr bwMode="auto">
          <a:xfrm>
            <a:off x="4587799" y="4616677"/>
            <a:ext cx="3686405" cy="628650"/>
          </a:xfrm>
          <a:prstGeom prst="roundRect">
            <a:avLst>
              <a:gd name="adj" fmla="val 7848"/>
            </a:avLst>
          </a:prstGeom>
          <a:gradFill flip="none" rotWithShape="1">
            <a:gsLst>
              <a:gs pos="3000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2700000" scaled="1"/>
            <a:tileRect/>
          </a:gradFill>
          <a:ln w="38100">
            <a:gradFill>
              <a:gsLst>
                <a:gs pos="0">
                  <a:srgbClr val="00B0F0"/>
                </a:gs>
                <a:gs pos="100000">
                  <a:srgbClr val="00206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65100" h="1270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9" name="矩形 87"/>
          <p:cNvSpPr>
            <a:spLocks noChangeArrowheads="1"/>
          </p:cNvSpPr>
          <p:nvPr/>
        </p:nvSpPr>
        <p:spPr bwMode="auto">
          <a:xfrm>
            <a:off x="4648200" y="4788333"/>
            <a:ext cx="336232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点击添加文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本 点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击添加文本</a:t>
            </a:r>
          </a:p>
        </p:txBody>
      </p:sp>
      <p:sp>
        <p:nvSpPr>
          <p:cNvPr id="90" name="圆角矩形 89"/>
          <p:cNvSpPr/>
          <p:nvPr/>
        </p:nvSpPr>
        <p:spPr bwMode="auto">
          <a:xfrm>
            <a:off x="4587798" y="2808892"/>
            <a:ext cx="3686405" cy="628650"/>
          </a:xfrm>
          <a:prstGeom prst="roundRect">
            <a:avLst>
              <a:gd name="adj" fmla="val 7848"/>
            </a:avLst>
          </a:prstGeom>
          <a:gradFill flip="none" rotWithShape="1">
            <a:gsLst>
              <a:gs pos="3000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2700000" scaled="1"/>
            <a:tileRect/>
          </a:gradFill>
          <a:ln w="38100">
            <a:gradFill>
              <a:gsLst>
                <a:gs pos="0">
                  <a:srgbClr val="00B0F0"/>
                </a:gs>
                <a:gs pos="100000">
                  <a:srgbClr val="00206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65100" h="1270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1" name="矩形 87"/>
          <p:cNvSpPr>
            <a:spLocks noChangeArrowheads="1"/>
          </p:cNvSpPr>
          <p:nvPr/>
        </p:nvSpPr>
        <p:spPr bwMode="auto">
          <a:xfrm>
            <a:off x="4776788" y="2956358"/>
            <a:ext cx="314801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点击添加文本 点击添加文本</a:t>
            </a:r>
          </a:p>
        </p:txBody>
      </p:sp>
      <p:sp>
        <p:nvSpPr>
          <p:cNvPr id="92" name="AutoShape 3"/>
          <p:cNvSpPr>
            <a:spLocks noChangeAspect="1" noChangeArrowheads="1"/>
          </p:cNvSpPr>
          <p:nvPr/>
        </p:nvSpPr>
        <p:spPr bwMode="auto">
          <a:xfrm>
            <a:off x="4417556" y="2961217"/>
            <a:ext cx="324000" cy="32400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508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3" name="AutoShape 3"/>
          <p:cNvSpPr>
            <a:spLocks noChangeAspect="1" noChangeArrowheads="1"/>
          </p:cNvSpPr>
          <p:nvPr/>
        </p:nvSpPr>
        <p:spPr bwMode="auto">
          <a:xfrm>
            <a:off x="4417556" y="3865109"/>
            <a:ext cx="324000" cy="32400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508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4" name="圆角矩形 93"/>
          <p:cNvSpPr/>
          <p:nvPr/>
        </p:nvSpPr>
        <p:spPr bwMode="auto">
          <a:xfrm>
            <a:off x="4587799" y="1905000"/>
            <a:ext cx="3686405" cy="628650"/>
          </a:xfrm>
          <a:prstGeom prst="roundRect">
            <a:avLst>
              <a:gd name="adj" fmla="val 7848"/>
            </a:avLst>
          </a:prstGeom>
          <a:gradFill flip="none" rotWithShape="1">
            <a:gsLst>
              <a:gs pos="3000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2700000" scaled="1"/>
            <a:tileRect/>
          </a:gradFill>
          <a:ln w="38100">
            <a:gradFill>
              <a:gsLst>
                <a:gs pos="0">
                  <a:srgbClr val="00B0F0"/>
                </a:gs>
                <a:gs pos="100000">
                  <a:srgbClr val="00206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65100" h="1270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5" name="矩形 87"/>
          <p:cNvSpPr>
            <a:spLocks noChangeArrowheads="1"/>
          </p:cNvSpPr>
          <p:nvPr/>
        </p:nvSpPr>
        <p:spPr bwMode="auto">
          <a:xfrm>
            <a:off x="4648200" y="2053070"/>
            <a:ext cx="34210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点击添加文本 点击添加文本</a:t>
            </a:r>
          </a:p>
        </p:txBody>
      </p:sp>
      <p:sp>
        <p:nvSpPr>
          <p:cNvPr id="96" name="AutoShape 3"/>
          <p:cNvSpPr>
            <a:spLocks noChangeAspect="1" noChangeArrowheads="1"/>
          </p:cNvSpPr>
          <p:nvPr/>
        </p:nvSpPr>
        <p:spPr bwMode="auto">
          <a:xfrm>
            <a:off x="4417556" y="2057325"/>
            <a:ext cx="324000" cy="32400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508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7" name="AutoShape 3"/>
          <p:cNvSpPr>
            <a:spLocks noChangeAspect="1" noChangeArrowheads="1"/>
          </p:cNvSpPr>
          <p:nvPr/>
        </p:nvSpPr>
        <p:spPr bwMode="auto">
          <a:xfrm>
            <a:off x="4417556" y="4769002"/>
            <a:ext cx="324000" cy="32400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508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9" name="AutoShape 593"/>
          <p:cNvSpPr>
            <a:spLocks noChangeArrowheads="1"/>
          </p:cNvSpPr>
          <p:nvPr/>
        </p:nvSpPr>
        <p:spPr bwMode="auto">
          <a:xfrm rot="10800000" flipH="1" flipV="1">
            <a:off x="1966206" y="3359163"/>
            <a:ext cx="540000" cy="432000"/>
          </a:xfrm>
          <a:prstGeom prst="rightArrow">
            <a:avLst>
              <a:gd name="adj1" fmla="val 60857"/>
              <a:gd name="adj2" fmla="val 56907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72" name="组合 57"/>
          <p:cNvGrpSpPr>
            <a:grpSpLocks/>
          </p:cNvGrpSpPr>
          <p:nvPr/>
        </p:nvGrpSpPr>
        <p:grpSpPr bwMode="auto">
          <a:xfrm>
            <a:off x="609600" y="3005570"/>
            <a:ext cx="1417637" cy="1138238"/>
            <a:chOff x="995344" y="2329499"/>
            <a:chExt cx="1904726" cy="1529714"/>
          </a:xfrm>
        </p:grpSpPr>
        <p:grpSp>
          <p:nvGrpSpPr>
            <p:cNvPr id="73" name="组合 34"/>
            <p:cNvGrpSpPr>
              <a:grpSpLocks noChangeAspect="1"/>
            </p:cNvGrpSpPr>
            <p:nvPr/>
          </p:nvGrpSpPr>
          <p:grpSpPr bwMode="auto">
            <a:xfrm>
              <a:off x="1208638" y="2329499"/>
              <a:ext cx="1534568" cy="1529714"/>
              <a:chOff x="4776693" y="4404800"/>
              <a:chExt cx="1011807" cy="1008000"/>
            </a:xfrm>
          </p:grpSpPr>
          <p:sp>
            <p:nvSpPr>
              <p:cNvPr id="75" name="Oval 2"/>
              <p:cNvSpPr>
                <a:spLocks noChangeAspect="1" noChangeArrowheads="1"/>
              </p:cNvSpPr>
              <p:nvPr/>
            </p:nvSpPr>
            <p:spPr bwMode="auto">
              <a:xfrm>
                <a:off x="4780500" y="4404800"/>
                <a:ext cx="1008000" cy="1008000"/>
              </a:xfrm>
              <a:prstGeom prst="ellipse">
                <a:avLst/>
              </a:prstGeom>
              <a:gradFill flip="none" rotWithShape="1">
                <a:gsLst>
                  <a:gs pos="0">
                    <a:srgbClr val="00DFF6"/>
                  </a:gs>
                  <a:gs pos="90000">
                    <a:srgbClr val="002774"/>
                  </a:gs>
                </a:gsLst>
                <a:lin ang="2700000" scaled="1"/>
                <a:tileRect/>
              </a:gradFill>
              <a:ln w="25400">
                <a:noFill/>
              </a:ln>
              <a:effectLst>
                <a:outerShdw blurRad="225425" dist="38100" dir="5220000" algn="ctr">
                  <a:srgbClr val="000000">
                    <a:alpha val="33000"/>
                  </a:srgbClr>
                </a:outerShdw>
              </a:effectLst>
              <a:scene3d>
                <a:camera prst="orthographicFront"/>
                <a:lightRig rig="flat" dir="t"/>
              </a:scene3d>
              <a:sp3d contourW="19050">
                <a:bevelT prst="convex"/>
                <a:bevelB w="0" h="0"/>
                <a:contourClr>
                  <a:srgbClr val="AFEAFF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>
                <a:sp3d/>
              </a:bodyPr>
              <a:lstStyle/>
              <a:p>
                <a:pPr algn="ctr" eaLnBrk="0" fontAlgn="ctr" hangingPunct="0">
                  <a:spcBef>
                    <a:spcPts val="0"/>
                  </a:spcBef>
                  <a:spcAft>
                    <a:spcPts val="0"/>
                  </a:spcAft>
                  <a:buClr>
                    <a:srgbClr val="FF0000"/>
                  </a:buClr>
                  <a:buSzPct val="70000"/>
                  <a:defRPr/>
                </a:pPr>
                <a:endParaRPr lang="fr-FR" altLang="zh-CN" sz="16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76" name="椭圆 75"/>
              <p:cNvSpPr>
                <a:spLocks/>
              </p:cNvSpPr>
              <p:nvPr/>
            </p:nvSpPr>
            <p:spPr>
              <a:xfrm rot="19388639">
                <a:off x="4776693" y="4463846"/>
                <a:ext cx="683485" cy="466745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45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dirty="0">
                  <a:solidFill>
                    <a:srgbClr val="FFFFFF"/>
                  </a:solidFill>
                  <a:ea typeface="微软雅黑" pitchFamily="34" charset="-122"/>
                </a:endParaRPr>
              </a:p>
            </p:txBody>
          </p:sp>
          <p:sp>
            <p:nvSpPr>
              <p:cNvPr id="77" name="椭圆 76"/>
              <p:cNvSpPr>
                <a:spLocks noChangeAspect="1"/>
              </p:cNvSpPr>
              <p:nvPr/>
            </p:nvSpPr>
            <p:spPr>
              <a:xfrm>
                <a:off x="4888500" y="4512800"/>
                <a:ext cx="792000" cy="792000"/>
              </a:xfrm>
              <a:prstGeom prst="ellipse">
                <a:avLst/>
              </a:prstGeom>
              <a:gradFill flip="none" rotWithShape="1">
                <a:gsLst>
                  <a:gs pos="10000">
                    <a:srgbClr val="2DD7FF">
                      <a:alpha val="50000"/>
                    </a:srgbClr>
                  </a:gs>
                  <a:gs pos="70000">
                    <a:schemeClr val="bg1">
                      <a:alpha val="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dirty="0">
                  <a:solidFill>
                    <a:srgbClr val="FFFFFF"/>
                  </a:solidFill>
                  <a:ea typeface="微软雅黑" pitchFamily="34" charset="-122"/>
                </a:endParaRPr>
              </a:p>
            </p:txBody>
          </p:sp>
        </p:grpSp>
        <p:sp>
          <p:nvSpPr>
            <p:cNvPr id="74" name="TextBox 147"/>
            <p:cNvSpPr txBox="1">
              <a:spLocks noChangeArrowheads="1"/>
            </p:cNvSpPr>
            <p:nvPr/>
          </p:nvSpPr>
          <p:spPr bwMode="auto">
            <a:xfrm>
              <a:off x="995344" y="2834940"/>
              <a:ext cx="1904726" cy="4549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kumimoji="1"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29997" dir="5400000" sy="-100000" algn="bl" rotWithShape="0"/>
                  </a:effectLst>
                  <a:latin typeface="微软雅黑" pitchFamily="34" charset="-122"/>
                  <a:ea typeface="微软雅黑" pitchFamily="34" charset="-122"/>
                </a:rPr>
                <a:t>添加标题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500"/>
                            </p:stCondLst>
                            <p:childTnLst>
                              <p:par>
                                <p:cTn id="3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0"/>
                            </p:stCondLst>
                            <p:childTnLst>
                              <p:par>
                                <p:cTn id="41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8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0"/>
                            </p:stCondLst>
                            <p:childTnLst>
                              <p:par>
                                <p:cTn id="5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500"/>
                            </p:stCondLst>
                            <p:childTnLst>
                              <p:par>
                                <p:cTn id="5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6000"/>
                            </p:stCondLst>
                            <p:childTnLst>
                              <p:par>
                                <p:cTn id="6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2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6500"/>
                            </p:stCondLst>
                            <p:childTnLst>
                              <p:par>
                                <p:cTn id="6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7000"/>
                            </p:stCondLst>
                            <p:childTnLst>
                              <p:par>
                                <p:cTn id="6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7500"/>
                            </p:stCondLst>
                            <p:childTnLst>
                              <p:par>
                                <p:cTn id="7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6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8000"/>
                            </p:stCondLst>
                            <p:childTnLst>
                              <p:par>
                                <p:cTn id="78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8500"/>
                            </p:stCondLst>
                            <p:childTnLst>
                              <p:par>
                                <p:cTn id="83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9000"/>
                            </p:stCondLst>
                            <p:childTnLst>
                              <p:par>
                                <p:cTn id="8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90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" grpId="0" animBg="1"/>
      <p:bldP spid="71" grpId="0" animBg="1"/>
      <p:bldP spid="78" grpId="0" animBg="1"/>
      <p:bldP spid="79" grpId="0" animBg="1"/>
      <p:bldP spid="86" grpId="0" animBg="1"/>
      <p:bldP spid="87" grpId="0"/>
      <p:bldP spid="88" grpId="0" animBg="1"/>
      <p:bldP spid="89" grpId="0"/>
      <p:bldP spid="90" grpId="0" animBg="1"/>
      <p:bldP spid="91" grpId="0"/>
      <p:bldP spid="92" grpId="0" animBg="1"/>
      <p:bldP spid="93" grpId="0" animBg="1"/>
      <p:bldP spid="94" grpId="0" animBg="1"/>
      <p:bldP spid="95" grpId="0"/>
      <p:bldP spid="96" grpId="0" animBg="1"/>
      <p:bldP spid="97" grpId="0" animBg="1"/>
      <p:bldP spid="69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燕尾形 17"/>
          <p:cNvSpPr/>
          <p:nvPr/>
        </p:nvSpPr>
        <p:spPr bwMode="auto">
          <a:xfrm>
            <a:off x="838200" y="3611908"/>
            <a:ext cx="2340000" cy="2160000"/>
          </a:xfrm>
          <a:prstGeom prst="chevron">
            <a:avLst>
              <a:gd name="adj" fmla="val 26048"/>
            </a:avLst>
          </a:prstGeom>
          <a:gradFill flip="none" rotWithShape="1">
            <a:gsLst>
              <a:gs pos="25000">
                <a:schemeClr val="bg1">
                  <a:lumMod val="50000"/>
                  <a:alpha val="50000"/>
                </a:schemeClr>
              </a:gs>
              <a:gs pos="100000">
                <a:schemeClr val="bg1">
                  <a:lumMod val="85000"/>
                  <a:alpha val="50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>
              <a:rot lat="17099998" lon="0" rev="0"/>
            </a:camera>
            <a:lightRig rig="flat" dir="t"/>
          </a:scene3d>
          <a:sp3d extrusionH="127000" contourW="19050">
            <a:bevelT w="101600" prst="convex"/>
            <a:bevelB w="0" h="254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" name="矩形 21"/>
          <p:cNvSpPr/>
          <p:nvPr/>
        </p:nvSpPr>
        <p:spPr bwMode="auto">
          <a:xfrm>
            <a:off x="2945843" y="5346873"/>
            <a:ext cx="3454957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spc="300" dirty="0">
                <a:ln w="1270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rgbClr val="00B0F0"/>
                    </a:gs>
                    <a:gs pos="75000">
                      <a:srgbClr val="002774"/>
                    </a:gs>
                  </a:gsLst>
                  <a:lin ang="5400000"/>
                </a:gradFill>
                <a:effectLst>
                  <a:glow rad="45500">
                    <a:srgbClr val="00B0F0">
                      <a:alpha val="35000"/>
                    </a:srgbClr>
                  </a:glow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23" name="AutoShape 81"/>
          <p:cNvSpPr>
            <a:spLocks noChangeArrowheads="1"/>
          </p:cNvSpPr>
          <p:nvPr/>
        </p:nvSpPr>
        <p:spPr bwMode="auto">
          <a:xfrm>
            <a:off x="1425960" y="2183890"/>
            <a:ext cx="1620000" cy="2520000"/>
          </a:xfrm>
          <a:prstGeom prst="roundRect">
            <a:avLst>
              <a:gd name="adj" fmla="val 5005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FFCF01"/>
                </a:gs>
                <a:gs pos="100000">
                  <a:srgbClr val="E22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74" name="组合 73"/>
          <p:cNvGrpSpPr/>
          <p:nvPr/>
        </p:nvGrpSpPr>
        <p:grpSpPr>
          <a:xfrm>
            <a:off x="1587960" y="1921174"/>
            <a:ext cx="1296000" cy="432000"/>
            <a:chOff x="1423527" y="2056236"/>
            <a:chExt cx="1296000" cy="432000"/>
          </a:xfrm>
        </p:grpSpPr>
        <p:sp>
          <p:nvSpPr>
            <p:cNvPr id="24" name="圆角矩形 23"/>
            <p:cNvSpPr/>
            <p:nvPr/>
          </p:nvSpPr>
          <p:spPr bwMode="auto">
            <a:xfrm>
              <a:off x="1423527" y="2056236"/>
              <a:ext cx="1296000" cy="432000"/>
            </a:xfrm>
            <a:prstGeom prst="roundRect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5" name="TextBox 22"/>
            <p:cNvSpPr txBox="1">
              <a:spLocks noChangeArrowheads="1"/>
            </p:cNvSpPr>
            <p:nvPr/>
          </p:nvSpPr>
          <p:spPr bwMode="auto">
            <a:xfrm>
              <a:off x="1476375" y="2126606"/>
              <a:ext cx="1190625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分标题一</a:t>
              </a:r>
            </a:p>
          </p:txBody>
        </p:sp>
      </p:grpSp>
      <p:sp>
        <p:nvSpPr>
          <p:cNvPr id="36" name="AutoShape 69"/>
          <p:cNvSpPr>
            <a:spLocks noChangeArrowheads="1"/>
          </p:cNvSpPr>
          <p:nvPr/>
        </p:nvSpPr>
        <p:spPr bwMode="gray">
          <a:xfrm rot="5400000">
            <a:off x="2091960" y="3707098"/>
            <a:ext cx="288000" cy="432000"/>
          </a:xfrm>
          <a:prstGeom prst="chevron">
            <a:avLst>
              <a:gd name="adj" fmla="val 52514"/>
            </a:avLst>
          </a:prstGeom>
          <a:gradFill flip="none" rotWithShape="1">
            <a:gsLst>
              <a:gs pos="0">
                <a:srgbClr val="6EFF01"/>
              </a:gs>
              <a:gs pos="90000">
                <a:srgbClr val="0F5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prst="convex"/>
            <a:bevelB w="0" h="0"/>
            <a:contourClr>
              <a:srgbClr val="89FF8C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1399508" y="4248969"/>
            <a:ext cx="1635125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b="1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grpSp>
        <p:nvGrpSpPr>
          <p:cNvPr id="78" name="组合 77"/>
          <p:cNvGrpSpPr/>
          <p:nvPr/>
        </p:nvGrpSpPr>
        <p:grpSpPr>
          <a:xfrm>
            <a:off x="1551452" y="2513831"/>
            <a:ext cx="1483181" cy="315913"/>
            <a:chOff x="1387019" y="2648893"/>
            <a:chExt cx="1483181" cy="315913"/>
          </a:xfrm>
        </p:grpSpPr>
        <p:sp>
          <p:nvSpPr>
            <p:cNvPr id="35" name="矩形 34"/>
            <p:cNvSpPr/>
            <p:nvPr/>
          </p:nvSpPr>
          <p:spPr>
            <a:xfrm>
              <a:off x="1439863" y="2648893"/>
              <a:ext cx="1430337" cy="315913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lvl="2" defTabSz="912813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r>
                <a:rPr lang="zh-CN" altLang="en-US" sz="1400" spc="50" dirty="0">
                  <a:ln w="11430"/>
                  <a:latin typeface="微软雅黑" pitchFamily="34" charset="-122"/>
                  <a:ea typeface="微软雅黑" pitchFamily="34" charset="-122"/>
                </a:rPr>
                <a:t>点击添加文本</a:t>
              </a:r>
            </a:p>
          </p:txBody>
        </p:sp>
        <p:sp>
          <p:nvSpPr>
            <p:cNvPr id="55" name="椭圆 54"/>
            <p:cNvSpPr/>
            <p:nvPr/>
          </p:nvSpPr>
          <p:spPr bwMode="auto">
            <a:xfrm>
              <a:off x="1387019" y="2748113"/>
              <a:ext cx="113258" cy="11756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79" name="组合 78"/>
          <p:cNvGrpSpPr/>
          <p:nvPr/>
        </p:nvGrpSpPr>
        <p:grpSpPr>
          <a:xfrm>
            <a:off x="1551452" y="2913881"/>
            <a:ext cx="1483181" cy="314325"/>
            <a:chOff x="1387019" y="3048943"/>
            <a:chExt cx="1483181" cy="314325"/>
          </a:xfrm>
        </p:grpSpPr>
        <p:sp>
          <p:nvSpPr>
            <p:cNvPr id="40" name="矩形 39"/>
            <p:cNvSpPr/>
            <p:nvPr/>
          </p:nvSpPr>
          <p:spPr>
            <a:xfrm>
              <a:off x="1439863" y="3048943"/>
              <a:ext cx="1430337" cy="31432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lvl="2" defTabSz="912813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r>
                <a:rPr lang="zh-CN" altLang="en-US" sz="1400" spc="50" dirty="0">
                  <a:ln w="11430"/>
                  <a:latin typeface="微软雅黑" pitchFamily="34" charset="-122"/>
                  <a:ea typeface="微软雅黑" pitchFamily="34" charset="-122"/>
                </a:rPr>
                <a:t>点击添加文本</a:t>
              </a:r>
            </a:p>
          </p:txBody>
        </p:sp>
        <p:sp>
          <p:nvSpPr>
            <p:cNvPr id="56" name="椭圆 55"/>
            <p:cNvSpPr/>
            <p:nvPr/>
          </p:nvSpPr>
          <p:spPr bwMode="auto">
            <a:xfrm>
              <a:off x="1387019" y="3147901"/>
              <a:ext cx="113258" cy="11756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80" name="组合 79"/>
          <p:cNvGrpSpPr/>
          <p:nvPr/>
        </p:nvGrpSpPr>
        <p:grpSpPr>
          <a:xfrm>
            <a:off x="1551452" y="3326631"/>
            <a:ext cx="1483181" cy="314325"/>
            <a:chOff x="1387019" y="3461693"/>
            <a:chExt cx="1483181" cy="314325"/>
          </a:xfrm>
        </p:grpSpPr>
        <p:sp>
          <p:nvSpPr>
            <p:cNvPr id="41" name="矩形 40"/>
            <p:cNvSpPr/>
            <p:nvPr/>
          </p:nvSpPr>
          <p:spPr>
            <a:xfrm>
              <a:off x="1439863" y="3461693"/>
              <a:ext cx="1430337" cy="31432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lvl="2" defTabSz="912813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r>
                <a:rPr lang="zh-CN" altLang="en-US" sz="1400" spc="50" dirty="0">
                  <a:ln w="11430"/>
                  <a:latin typeface="微软雅黑" pitchFamily="34" charset="-122"/>
                  <a:ea typeface="微软雅黑" pitchFamily="34" charset="-122"/>
                </a:rPr>
                <a:t>点击添加文本</a:t>
              </a:r>
            </a:p>
          </p:txBody>
        </p:sp>
        <p:sp>
          <p:nvSpPr>
            <p:cNvPr id="57" name="椭圆 56"/>
            <p:cNvSpPr/>
            <p:nvPr/>
          </p:nvSpPr>
          <p:spPr bwMode="auto">
            <a:xfrm>
              <a:off x="1387019" y="3559722"/>
              <a:ext cx="113258" cy="11756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81" name="燕尾形 80"/>
          <p:cNvSpPr/>
          <p:nvPr/>
        </p:nvSpPr>
        <p:spPr bwMode="auto">
          <a:xfrm>
            <a:off x="3234273" y="3604123"/>
            <a:ext cx="2340000" cy="2160000"/>
          </a:xfrm>
          <a:prstGeom prst="chevron">
            <a:avLst>
              <a:gd name="adj" fmla="val 26048"/>
            </a:avLst>
          </a:prstGeom>
          <a:gradFill flip="none" rotWithShape="1">
            <a:gsLst>
              <a:gs pos="25000">
                <a:schemeClr val="bg1">
                  <a:lumMod val="50000"/>
                  <a:alpha val="50000"/>
                </a:schemeClr>
              </a:gs>
              <a:gs pos="100000">
                <a:schemeClr val="bg1">
                  <a:lumMod val="85000"/>
                  <a:alpha val="50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>
              <a:rot lat="17099998" lon="0" rev="0"/>
            </a:camera>
            <a:lightRig rig="flat" dir="t"/>
          </a:scene3d>
          <a:sp3d extrusionH="127000" contourW="19050">
            <a:bevelT w="101600" prst="convex"/>
            <a:bevelB w="0" h="254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2" name="AutoShape 81"/>
          <p:cNvSpPr>
            <a:spLocks noChangeArrowheads="1"/>
          </p:cNvSpPr>
          <p:nvPr/>
        </p:nvSpPr>
        <p:spPr bwMode="auto">
          <a:xfrm>
            <a:off x="3822033" y="2176105"/>
            <a:ext cx="1620000" cy="2520000"/>
          </a:xfrm>
          <a:prstGeom prst="roundRect">
            <a:avLst>
              <a:gd name="adj" fmla="val 5005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FFCF01"/>
                </a:gs>
                <a:gs pos="100000">
                  <a:srgbClr val="E22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83" name="组合 82"/>
          <p:cNvGrpSpPr/>
          <p:nvPr/>
        </p:nvGrpSpPr>
        <p:grpSpPr>
          <a:xfrm>
            <a:off x="3984033" y="1913389"/>
            <a:ext cx="1296000" cy="432000"/>
            <a:chOff x="1423527" y="2056236"/>
            <a:chExt cx="1296000" cy="432000"/>
          </a:xfrm>
        </p:grpSpPr>
        <p:sp>
          <p:nvSpPr>
            <p:cNvPr id="84" name="圆角矩形 83"/>
            <p:cNvSpPr/>
            <p:nvPr/>
          </p:nvSpPr>
          <p:spPr bwMode="auto">
            <a:xfrm>
              <a:off x="1423527" y="2056236"/>
              <a:ext cx="1296000" cy="432000"/>
            </a:xfrm>
            <a:prstGeom prst="roundRect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5" name="TextBox 22"/>
            <p:cNvSpPr txBox="1">
              <a:spLocks noChangeArrowheads="1"/>
            </p:cNvSpPr>
            <p:nvPr/>
          </p:nvSpPr>
          <p:spPr bwMode="auto">
            <a:xfrm>
              <a:off x="1476375" y="2126606"/>
              <a:ext cx="1190625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分标题一</a:t>
              </a:r>
            </a:p>
          </p:txBody>
        </p:sp>
      </p:grpSp>
      <p:sp>
        <p:nvSpPr>
          <p:cNvPr id="86" name="AutoShape 69"/>
          <p:cNvSpPr>
            <a:spLocks noChangeArrowheads="1"/>
          </p:cNvSpPr>
          <p:nvPr/>
        </p:nvSpPr>
        <p:spPr bwMode="gray">
          <a:xfrm rot="5400000">
            <a:off x="4488033" y="3699313"/>
            <a:ext cx="288000" cy="432000"/>
          </a:xfrm>
          <a:prstGeom prst="chevron">
            <a:avLst>
              <a:gd name="adj" fmla="val 52514"/>
            </a:avLst>
          </a:prstGeom>
          <a:gradFill flip="none" rotWithShape="1">
            <a:gsLst>
              <a:gs pos="0">
                <a:srgbClr val="6EFF01"/>
              </a:gs>
              <a:gs pos="90000">
                <a:srgbClr val="0F5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prst="convex"/>
            <a:bevelB w="0" h="0"/>
            <a:contourClr>
              <a:srgbClr val="89FF8C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3795581" y="4241184"/>
            <a:ext cx="1635125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b="1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grpSp>
        <p:nvGrpSpPr>
          <p:cNvPr id="88" name="组合 87"/>
          <p:cNvGrpSpPr/>
          <p:nvPr/>
        </p:nvGrpSpPr>
        <p:grpSpPr>
          <a:xfrm>
            <a:off x="3947525" y="2506046"/>
            <a:ext cx="1483181" cy="315913"/>
            <a:chOff x="1387019" y="2648893"/>
            <a:chExt cx="1483181" cy="315913"/>
          </a:xfrm>
        </p:grpSpPr>
        <p:sp>
          <p:nvSpPr>
            <p:cNvPr id="89" name="矩形 88"/>
            <p:cNvSpPr/>
            <p:nvPr/>
          </p:nvSpPr>
          <p:spPr>
            <a:xfrm>
              <a:off x="1439863" y="2648893"/>
              <a:ext cx="1430337" cy="315913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lvl="2" defTabSz="912813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r>
                <a:rPr lang="zh-CN" altLang="en-US" sz="1400" spc="50" dirty="0">
                  <a:ln w="11430"/>
                  <a:latin typeface="微软雅黑" pitchFamily="34" charset="-122"/>
                  <a:ea typeface="微软雅黑" pitchFamily="34" charset="-122"/>
                </a:rPr>
                <a:t>点击添加文本</a:t>
              </a:r>
            </a:p>
          </p:txBody>
        </p:sp>
        <p:sp>
          <p:nvSpPr>
            <p:cNvPr id="90" name="椭圆 89"/>
            <p:cNvSpPr/>
            <p:nvPr/>
          </p:nvSpPr>
          <p:spPr bwMode="auto">
            <a:xfrm>
              <a:off x="1387019" y="2748113"/>
              <a:ext cx="113258" cy="11756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91" name="组合 90"/>
          <p:cNvGrpSpPr/>
          <p:nvPr/>
        </p:nvGrpSpPr>
        <p:grpSpPr>
          <a:xfrm>
            <a:off x="3947525" y="2906096"/>
            <a:ext cx="1483181" cy="314325"/>
            <a:chOff x="1387019" y="3048943"/>
            <a:chExt cx="1483181" cy="314325"/>
          </a:xfrm>
        </p:grpSpPr>
        <p:sp>
          <p:nvSpPr>
            <p:cNvPr id="92" name="矩形 91"/>
            <p:cNvSpPr/>
            <p:nvPr/>
          </p:nvSpPr>
          <p:spPr>
            <a:xfrm>
              <a:off x="1439863" y="3048943"/>
              <a:ext cx="1430337" cy="31432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lvl="2" defTabSz="912813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r>
                <a:rPr lang="zh-CN" altLang="en-US" sz="1400" spc="50" dirty="0">
                  <a:ln w="11430"/>
                  <a:latin typeface="微软雅黑" pitchFamily="34" charset="-122"/>
                  <a:ea typeface="微软雅黑" pitchFamily="34" charset="-122"/>
                </a:rPr>
                <a:t>点击添加文本</a:t>
              </a:r>
            </a:p>
          </p:txBody>
        </p:sp>
        <p:sp>
          <p:nvSpPr>
            <p:cNvPr id="93" name="椭圆 92"/>
            <p:cNvSpPr/>
            <p:nvPr/>
          </p:nvSpPr>
          <p:spPr bwMode="auto">
            <a:xfrm>
              <a:off x="1387019" y="3147901"/>
              <a:ext cx="113258" cy="11756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94" name="组合 93"/>
          <p:cNvGrpSpPr/>
          <p:nvPr/>
        </p:nvGrpSpPr>
        <p:grpSpPr>
          <a:xfrm>
            <a:off x="3947525" y="3318846"/>
            <a:ext cx="1483181" cy="314325"/>
            <a:chOff x="1387019" y="3461693"/>
            <a:chExt cx="1483181" cy="314325"/>
          </a:xfrm>
        </p:grpSpPr>
        <p:sp>
          <p:nvSpPr>
            <p:cNvPr id="95" name="矩形 94"/>
            <p:cNvSpPr/>
            <p:nvPr/>
          </p:nvSpPr>
          <p:spPr>
            <a:xfrm>
              <a:off x="1439863" y="3461693"/>
              <a:ext cx="1430337" cy="31432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lvl="2" defTabSz="912813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r>
                <a:rPr lang="zh-CN" altLang="en-US" sz="1400" spc="50" dirty="0">
                  <a:ln w="11430"/>
                  <a:latin typeface="微软雅黑" pitchFamily="34" charset="-122"/>
                  <a:ea typeface="微软雅黑" pitchFamily="34" charset="-122"/>
                </a:rPr>
                <a:t>点击添加文本</a:t>
              </a:r>
            </a:p>
          </p:txBody>
        </p:sp>
        <p:sp>
          <p:nvSpPr>
            <p:cNvPr id="96" name="椭圆 95"/>
            <p:cNvSpPr/>
            <p:nvPr/>
          </p:nvSpPr>
          <p:spPr bwMode="auto">
            <a:xfrm>
              <a:off x="1387019" y="3559722"/>
              <a:ext cx="113258" cy="11756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97" name="燕尾形 96"/>
          <p:cNvSpPr/>
          <p:nvPr/>
        </p:nvSpPr>
        <p:spPr bwMode="auto">
          <a:xfrm>
            <a:off x="5664284" y="3595734"/>
            <a:ext cx="2340000" cy="2160000"/>
          </a:xfrm>
          <a:prstGeom prst="chevron">
            <a:avLst>
              <a:gd name="adj" fmla="val 26048"/>
            </a:avLst>
          </a:prstGeom>
          <a:gradFill flip="none" rotWithShape="1">
            <a:gsLst>
              <a:gs pos="25000">
                <a:schemeClr val="bg1">
                  <a:lumMod val="50000"/>
                  <a:alpha val="50000"/>
                </a:schemeClr>
              </a:gs>
              <a:gs pos="100000">
                <a:schemeClr val="bg1">
                  <a:lumMod val="85000"/>
                  <a:alpha val="50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>
              <a:rot lat="17099998" lon="0" rev="0"/>
            </a:camera>
            <a:lightRig rig="flat" dir="t"/>
          </a:scene3d>
          <a:sp3d extrusionH="127000" contourW="19050">
            <a:bevelT w="101600" prst="convex"/>
            <a:bevelB w="0" h="254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8" name="AutoShape 81"/>
          <p:cNvSpPr>
            <a:spLocks noChangeArrowheads="1"/>
          </p:cNvSpPr>
          <p:nvPr/>
        </p:nvSpPr>
        <p:spPr bwMode="auto">
          <a:xfrm>
            <a:off x="6252044" y="2167716"/>
            <a:ext cx="1620000" cy="2520000"/>
          </a:xfrm>
          <a:prstGeom prst="roundRect">
            <a:avLst>
              <a:gd name="adj" fmla="val 5005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FFCF01"/>
                </a:gs>
                <a:gs pos="100000">
                  <a:srgbClr val="E22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99" name="组合 98"/>
          <p:cNvGrpSpPr/>
          <p:nvPr/>
        </p:nvGrpSpPr>
        <p:grpSpPr>
          <a:xfrm>
            <a:off x="6414044" y="1905000"/>
            <a:ext cx="1296000" cy="432000"/>
            <a:chOff x="1423527" y="2056236"/>
            <a:chExt cx="1296000" cy="432000"/>
          </a:xfrm>
        </p:grpSpPr>
        <p:sp>
          <p:nvSpPr>
            <p:cNvPr id="100" name="圆角矩形 99"/>
            <p:cNvSpPr/>
            <p:nvPr/>
          </p:nvSpPr>
          <p:spPr bwMode="auto">
            <a:xfrm>
              <a:off x="1423527" y="2056236"/>
              <a:ext cx="1296000" cy="432000"/>
            </a:xfrm>
            <a:prstGeom prst="roundRect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01" name="TextBox 22"/>
            <p:cNvSpPr txBox="1">
              <a:spLocks noChangeArrowheads="1"/>
            </p:cNvSpPr>
            <p:nvPr/>
          </p:nvSpPr>
          <p:spPr bwMode="auto">
            <a:xfrm>
              <a:off x="1476375" y="2126606"/>
              <a:ext cx="1190625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分标题一</a:t>
              </a:r>
            </a:p>
          </p:txBody>
        </p:sp>
      </p:grpSp>
      <p:sp>
        <p:nvSpPr>
          <p:cNvPr id="102" name="AutoShape 69"/>
          <p:cNvSpPr>
            <a:spLocks noChangeArrowheads="1"/>
          </p:cNvSpPr>
          <p:nvPr/>
        </p:nvSpPr>
        <p:spPr bwMode="gray">
          <a:xfrm rot="5400000">
            <a:off x="6918044" y="3690924"/>
            <a:ext cx="288000" cy="432000"/>
          </a:xfrm>
          <a:prstGeom prst="chevron">
            <a:avLst>
              <a:gd name="adj" fmla="val 52514"/>
            </a:avLst>
          </a:prstGeom>
          <a:gradFill flip="none" rotWithShape="1">
            <a:gsLst>
              <a:gs pos="0">
                <a:srgbClr val="6EFF01"/>
              </a:gs>
              <a:gs pos="90000">
                <a:srgbClr val="0F5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prst="convex"/>
            <a:bevelB w="0" h="0"/>
            <a:contourClr>
              <a:srgbClr val="89FF8C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3" name="矩形 102"/>
          <p:cNvSpPr/>
          <p:nvPr/>
        </p:nvSpPr>
        <p:spPr>
          <a:xfrm>
            <a:off x="6225592" y="4232795"/>
            <a:ext cx="1635125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b="1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grpSp>
        <p:nvGrpSpPr>
          <p:cNvPr id="104" name="组合 103"/>
          <p:cNvGrpSpPr/>
          <p:nvPr/>
        </p:nvGrpSpPr>
        <p:grpSpPr>
          <a:xfrm>
            <a:off x="6377536" y="2497657"/>
            <a:ext cx="1483181" cy="315913"/>
            <a:chOff x="1387019" y="2648893"/>
            <a:chExt cx="1483181" cy="315913"/>
          </a:xfrm>
        </p:grpSpPr>
        <p:sp>
          <p:nvSpPr>
            <p:cNvPr id="105" name="矩形 104"/>
            <p:cNvSpPr/>
            <p:nvPr/>
          </p:nvSpPr>
          <p:spPr>
            <a:xfrm>
              <a:off x="1439863" y="2648893"/>
              <a:ext cx="1430337" cy="315913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lvl="2" defTabSz="912813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r>
                <a:rPr lang="zh-CN" altLang="en-US" sz="1400" spc="50" dirty="0">
                  <a:ln w="11430"/>
                  <a:latin typeface="微软雅黑" pitchFamily="34" charset="-122"/>
                  <a:ea typeface="微软雅黑" pitchFamily="34" charset="-122"/>
                </a:rPr>
                <a:t>点击添加文本</a:t>
              </a:r>
            </a:p>
          </p:txBody>
        </p:sp>
        <p:sp>
          <p:nvSpPr>
            <p:cNvPr id="106" name="椭圆 105"/>
            <p:cNvSpPr/>
            <p:nvPr/>
          </p:nvSpPr>
          <p:spPr bwMode="auto">
            <a:xfrm>
              <a:off x="1387019" y="2748113"/>
              <a:ext cx="113258" cy="11756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07" name="组合 106"/>
          <p:cNvGrpSpPr/>
          <p:nvPr/>
        </p:nvGrpSpPr>
        <p:grpSpPr>
          <a:xfrm>
            <a:off x="6377536" y="2897707"/>
            <a:ext cx="1483181" cy="314325"/>
            <a:chOff x="1387019" y="3048943"/>
            <a:chExt cx="1483181" cy="314325"/>
          </a:xfrm>
        </p:grpSpPr>
        <p:sp>
          <p:nvSpPr>
            <p:cNvPr id="108" name="矩形 107"/>
            <p:cNvSpPr/>
            <p:nvPr/>
          </p:nvSpPr>
          <p:spPr>
            <a:xfrm>
              <a:off x="1439863" y="3048943"/>
              <a:ext cx="1430337" cy="31432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lvl="2" defTabSz="912813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r>
                <a:rPr lang="zh-CN" altLang="en-US" sz="1400" spc="50" dirty="0">
                  <a:ln w="11430"/>
                  <a:latin typeface="微软雅黑" pitchFamily="34" charset="-122"/>
                  <a:ea typeface="微软雅黑" pitchFamily="34" charset="-122"/>
                </a:rPr>
                <a:t>点击添加文本</a:t>
              </a:r>
            </a:p>
          </p:txBody>
        </p:sp>
        <p:sp>
          <p:nvSpPr>
            <p:cNvPr id="109" name="椭圆 108"/>
            <p:cNvSpPr/>
            <p:nvPr/>
          </p:nvSpPr>
          <p:spPr bwMode="auto">
            <a:xfrm>
              <a:off x="1387019" y="3147901"/>
              <a:ext cx="113258" cy="11756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10" name="组合 109"/>
          <p:cNvGrpSpPr/>
          <p:nvPr/>
        </p:nvGrpSpPr>
        <p:grpSpPr>
          <a:xfrm>
            <a:off x="6377536" y="3310457"/>
            <a:ext cx="1483181" cy="314325"/>
            <a:chOff x="1387019" y="3461693"/>
            <a:chExt cx="1483181" cy="314325"/>
          </a:xfrm>
        </p:grpSpPr>
        <p:sp>
          <p:nvSpPr>
            <p:cNvPr id="111" name="矩形 110"/>
            <p:cNvSpPr/>
            <p:nvPr/>
          </p:nvSpPr>
          <p:spPr>
            <a:xfrm>
              <a:off x="1439863" y="3461693"/>
              <a:ext cx="1430337" cy="31432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lvl="2" defTabSz="912813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r>
                <a:rPr lang="zh-CN" altLang="en-US" sz="1400" spc="50" dirty="0">
                  <a:ln w="11430"/>
                  <a:latin typeface="微软雅黑" pitchFamily="34" charset="-122"/>
                  <a:ea typeface="微软雅黑" pitchFamily="34" charset="-122"/>
                </a:rPr>
                <a:t>点击添加文本</a:t>
              </a:r>
            </a:p>
          </p:txBody>
        </p:sp>
        <p:sp>
          <p:nvSpPr>
            <p:cNvPr id="112" name="椭圆 111"/>
            <p:cNvSpPr/>
            <p:nvPr/>
          </p:nvSpPr>
          <p:spPr bwMode="auto">
            <a:xfrm>
              <a:off x="1387019" y="3559722"/>
              <a:ext cx="113258" cy="11756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900" decel="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3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1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3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3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000"/>
                            </p:stCondLst>
                            <p:childTnLst>
                              <p:par>
                                <p:cTn id="4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8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500"/>
                            </p:stCondLst>
                            <p:childTnLst>
                              <p:par>
                                <p:cTn id="50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900" decel="100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9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3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7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1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9500"/>
                            </p:stCondLst>
                            <p:childTnLst>
                              <p:par>
                                <p:cTn id="8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84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10000"/>
                            </p:stCondLst>
                            <p:childTnLst>
                              <p:par>
                                <p:cTn id="86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10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900" decel="100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1000"/>
                            </p:stCondLst>
                            <p:childTnLst>
                              <p:par>
                                <p:cTn id="93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95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11500"/>
                            </p:stCondLst>
                            <p:childTnLst>
                              <p:par>
                                <p:cTn id="97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99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12000"/>
                            </p:stCondLst>
                            <p:childTnLst>
                              <p:par>
                                <p:cTn id="101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03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12500"/>
                            </p:stCondLst>
                            <p:childTnLst>
                              <p:par>
                                <p:cTn id="10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07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13000"/>
                            </p:stCondLst>
                            <p:childTnLst>
                              <p:par>
                                <p:cTn id="10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1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13500"/>
                            </p:stCondLst>
                            <p:childTnLst>
                              <p:par>
                                <p:cTn id="113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2" grpId="0"/>
      <p:bldP spid="23" grpId="0" animBg="1"/>
      <p:bldP spid="36" grpId="0" animBg="1"/>
      <p:bldP spid="42" grpId="0"/>
      <p:bldP spid="81" grpId="0" animBg="1"/>
      <p:bldP spid="82" grpId="0" animBg="1"/>
      <p:bldP spid="86" grpId="0" animBg="1"/>
      <p:bldP spid="87" grpId="0"/>
      <p:bldP spid="97" grpId="0" animBg="1"/>
      <p:bldP spid="98" grpId="0" animBg="1"/>
      <p:bldP spid="102" grpId="0" animBg="1"/>
      <p:bldP spid="103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组合 54"/>
          <p:cNvGrpSpPr/>
          <p:nvPr/>
        </p:nvGrpSpPr>
        <p:grpSpPr>
          <a:xfrm>
            <a:off x="2551113" y="2438400"/>
            <a:ext cx="4108450" cy="2449513"/>
            <a:chOff x="2551113" y="2582846"/>
            <a:chExt cx="4108450" cy="2449513"/>
          </a:xfrm>
        </p:grpSpPr>
        <p:sp>
          <p:nvSpPr>
            <p:cNvPr id="56" name="Line 12"/>
            <p:cNvSpPr>
              <a:spLocks noChangeShapeType="1"/>
            </p:cNvSpPr>
            <p:nvPr/>
          </p:nvSpPr>
          <p:spPr bwMode="auto">
            <a:xfrm flipH="1" flipV="1">
              <a:off x="2555875" y="2582846"/>
              <a:ext cx="4103688" cy="2449513"/>
            </a:xfrm>
            <a:prstGeom prst="line">
              <a:avLst/>
            </a:prstGeom>
            <a:noFill/>
            <a:ln w="38100" cap="rnd">
              <a:solidFill>
                <a:srgbClr val="4B74C5"/>
              </a:solidFill>
              <a:prstDash val="sysDot"/>
              <a:round/>
              <a:headEnd type="triangle" w="med" len="med"/>
              <a:tailEnd type="triangle" w="med" len="med"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57" name="Line 15"/>
            <p:cNvSpPr>
              <a:spLocks noChangeShapeType="1"/>
            </p:cNvSpPr>
            <p:nvPr/>
          </p:nvSpPr>
          <p:spPr bwMode="auto">
            <a:xfrm flipV="1">
              <a:off x="2551113" y="2582846"/>
              <a:ext cx="4103687" cy="2449513"/>
            </a:xfrm>
            <a:prstGeom prst="line">
              <a:avLst/>
            </a:prstGeom>
            <a:noFill/>
            <a:ln w="38100" cap="rnd">
              <a:solidFill>
                <a:srgbClr val="4B74C5"/>
              </a:solidFill>
              <a:prstDash val="sysDot"/>
              <a:round/>
              <a:headEnd type="triangle" w="med" len="med"/>
              <a:tailEnd type="triangle" w="med" len="med"/>
            </a:ln>
          </p:spPr>
          <p:txBody>
            <a:bodyPr wrap="none" anchor="ctr"/>
            <a:lstStyle/>
            <a:p>
              <a:endParaRPr lang="zh-CN" altLang="en-US"/>
            </a:p>
          </p:txBody>
        </p:sp>
      </p:grpSp>
      <p:sp>
        <p:nvSpPr>
          <p:cNvPr id="58" name="Oval 6"/>
          <p:cNvSpPr>
            <a:spLocks noChangeArrowheads="1"/>
          </p:cNvSpPr>
          <p:nvPr/>
        </p:nvSpPr>
        <p:spPr bwMode="auto">
          <a:xfrm>
            <a:off x="3001963" y="2084388"/>
            <a:ext cx="3117850" cy="3117850"/>
          </a:xfrm>
          <a:prstGeom prst="ellipse">
            <a:avLst/>
          </a:prstGeom>
          <a:gradFill>
            <a:gsLst>
              <a:gs pos="0">
                <a:srgbClr val="FBEAC7"/>
              </a:gs>
              <a:gs pos="17999">
                <a:srgbClr val="FEE7F2"/>
              </a:gs>
              <a:gs pos="36000">
                <a:srgbClr val="FAC77D"/>
              </a:gs>
              <a:gs pos="61000">
                <a:srgbClr val="FBA97D"/>
              </a:gs>
              <a:gs pos="82001">
                <a:srgbClr val="FBD49C"/>
              </a:gs>
              <a:gs pos="100000">
                <a:srgbClr val="FEE7F2"/>
              </a:gs>
            </a:gsLst>
            <a:lin ang="16200000" scaled="0"/>
          </a:gradFill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zh-CN" altLang="en-US"/>
          </a:p>
        </p:txBody>
      </p:sp>
      <p:sp>
        <p:nvSpPr>
          <p:cNvPr id="59" name="Oval 8"/>
          <p:cNvSpPr>
            <a:spLocks noChangeArrowheads="1"/>
          </p:cNvSpPr>
          <p:nvPr/>
        </p:nvSpPr>
        <p:spPr bwMode="auto">
          <a:xfrm>
            <a:off x="3427413" y="2509838"/>
            <a:ext cx="2266950" cy="2266950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zh-CN" altLang="en-US"/>
          </a:p>
        </p:txBody>
      </p:sp>
      <p:pic>
        <p:nvPicPr>
          <p:cNvPr id="60" name="Picture 9" descr="sphere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663950" y="2798763"/>
            <a:ext cx="1916113" cy="1944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1" name="组合 60"/>
          <p:cNvGrpSpPr/>
          <p:nvPr/>
        </p:nvGrpSpPr>
        <p:grpSpPr>
          <a:xfrm>
            <a:off x="1144588" y="1430338"/>
            <a:ext cx="1387475" cy="1387475"/>
            <a:chOff x="1144588" y="1574784"/>
            <a:chExt cx="1387475" cy="1387475"/>
          </a:xfrm>
        </p:grpSpPr>
        <p:sp>
          <p:nvSpPr>
            <p:cNvPr id="62" name="Oval 16"/>
            <p:cNvSpPr>
              <a:spLocks noChangeArrowheads="1"/>
            </p:cNvSpPr>
            <p:nvPr/>
          </p:nvSpPr>
          <p:spPr bwMode="auto">
            <a:xfrm>
              <a:off x="1144588" y="1574784"/>
              <a:ext cx="1387475" cy="1387475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63" name="Oval 18"/>
            <p:cNvSpPr>
              <a:spLocks noChangeArrowheads="1"/>
            </p:cNvSpPr>
            <p:nvPr/>
          </p:nvSpPr>
          <p:spPr bwMode="auto">
            <a:xfrm>
              <a:off x="1284288" y="1685909"/>
              <a:ext cx="1223962" cy="1223962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64" name="组合 63"/>
          <p:cNvGrpSpPr/>
          <p:nvPr/>
        </p:nvGrpSpPr>
        <p:grpSpPr>
          <a:xfrm>
            <a:off x="1144588" y="4443413"/>
            <a:ext cx="1389062" cy="1385887"/>
            <a:chOff x="1144588" y="4587859"/>
            <a:chExt cx="1389062" cy="1385887"/>
          </a:xfrm>
        </p:grpSpPr>
        <p:sp>
          <p:nvSpPr>
            <p:cNvPr id="65" name="Oval 30"/>
            <p:cNvSpPr>
              <a:spLocks noChangeArrowheads="1"/>
            </p:cNvSpPr>
            <p:nvPr/>
          </p:nvSpPr>
          <p:spPr bwMode="auto">
            <a:xfrm>
              <a:off x="1144588" y="4587859"/>
              <a:ext cx="1389062" cy="1385887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66" name="Oval 35"/>
            <p:cNvSpPr>
              <a:spLocks noChangeArrowheads="1"/>
            </p:cNvSpPr>
            <p:nvPr/>
          </p:nvSpPr>
          <p:spPr bwMode="auto">
            <a:xfrm>
              <a:off x="1273175" y="4632309"/>
              <a:ext cx="1223963" cy="1223962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67" name="组合 66"/>
          <p:cNvGrpSpPr/>
          <p:nvPr/>
        </p:nvGrpSpPr>
        <p:grpSpPr>
          <a:xfrm>
            <a:off x="6608763" y="1430338"/>
            <a:ext cx="1390650" cy="1387475"/>
            <a:chOff x="6608763" y="1574784"/>
            <a:chExt cx="1390650" cy="1387475"/>
          </a:xfrm>
        </p:grpSpPr>
        <p:sp>
          <p:nvSpPr>
            <p:cNvPr id="68" name="Oval 29"/>
            <p:cNvSpPr>
              <a:spLocks noChangeArrowheads="1"/>
            </p:cNvSpPr>
            <p:nvPr/>
          </p:nvSpPr>
          <p:spPr bwMode="auto">
            <a:xfrm>
              <a:off x="6608763" y="1574784"/>
              <a:ext cx="1390650" cy="1387475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69" name="Oval 39"/>
            <p:cNvSpPr>
              <a:spLocks noChangeArrowheads="1"/>
            </p:cNvSpPr>
            <p:nvPr/>
          </p:nvSpPr>
          <p:spPr bwMode="auto">
            <a:xfrm>
              <a:off x="6654800" y="1685909"/>
              <a:ext cx="1223963" cy="1223962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70" name="组合 69"/>
          <p:cNvGrpSpPr/>
          <p:nvPr/>
        </p:nvGrpSpPr>
        <p:grpSpPr>
          <a:xfrm>
            <a:off x="6619875" y="4445000"/>
            <a:ext cx="1387475" cy="1389063"/>
            <a:chOff x="6619875" y="4589446"/>
            <a:chExt cx="1387475" cy="1389063"/>
          </a:xfrm>
        </p:grpSpPr>
        <p:sp>
          <p:nvSpPr>
            <p:cNvPr id="71" name="Oval 31"/>
            <p:cNvSpPr>
              <a:spLocks noChangeArrowheads="1"/>
            </p:cNvSpPr>
            <p:nvPr/>
          </p:nvSpPr>
          <p:spPr bwMode="auto">
            <a:xfrm>
              <a:off x="6619875" y="4589446"/>
              <a:ext cx="1387475" cy="1389063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72" name="Oval 40"/>
            <p:cNvSpPr>
              <a:spLocks noChangeArrowheads="1"/>
            </p:cNvSpPr>
            <p:nvPr/>
          </p:nvSpPr>
          <p:spPr bwMode="auto">
            <a:xfrm>
              <a:off x="6643688" y="4632309"/>
              <a:ext cx="1223962" cy="1223962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</p:grpSp>
      <p:sp>
        <p:nvSpPr>
          <p:cNvPr id="73" name="Rectangle 62"/>
          <p:cNvSpPr>
            <a:spLocks noChangeArrowheads="1"/>
          </p:cNvSpPr>
          <p:nvPr/>
        </p:nvSpPr>
        <p:spPr bwMode="auto">
          <a:xfrm>
            <a:off x="3857620" y="3498868"/>
            <a:ext cx="1447800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kumimoji="0" lang="zh-CN" altLang="en-US" sz="24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견고딕"/>
              </a:rPr>
              <a:t>文本</a:t>
            </a:r>
            <a:endParaRPr kumimoji="0" lang="en-US" altLang="ko-KR" sz="24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cs typeface="견고딕"/>
            </a:endParaRPr>
          </a:p>
        </p:txBody>
      </p:sp>
      <p:sp>
        <p:nvSpPr>
          <p:cNvPr id="74" name="Rectangle 21"/>
          <p:cNvSpPr>
            <a:spLocks noChangeArrowheads="1"/>
          </p:cNvSpPr>
          <p:nvPr/>
        </p:nvSpPr>
        <p:spPr bwMode="auto">
          <a:xfrm>
            <a:off x="928662" y="2927364"/>
            <a:ext cx="185754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>
                <a:solidFill>
                  <a:srgbClr val="000000"/>
                </a:solidFill>
              </a:rPr>
              <a:t>这里输入文本信息</a:t>
            </a:r>
            <a:endParaRPr lang="en-US" altLang="zh-CN" sz="1600" dirty="0">
              <a:solidFill>
                <a:srgbClr val="000000"/>
              </a:solidFill>
            </a:endParaRPr>
          </a:p>
        </p:txBody>
      </p:sp>
      <p:sp>
        <p:nvSpPr>
          <p:cNvPr id="75" name="Rectangle 21"/>
          <p:cNvSpPr>
            <a:spLocks noChangeArrowheads="1"/>
          </p:cNvSpPr>
          <p:nvPr/>
        </p:nvSpPr>
        <p:spPr bwMode="auto">
          <a:xfrm>
            <a:off x="928662" y="4003252"/>
            <a:ext cx="185754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>
                <a:solidFill>
                  <a:srgbClr val="000000"/>
                </a:solidFill>
              </a:rPr>
              <a:t>这里输入文本信息</a:t>
            </a:r>
            <a:endParaRPr lang="en-US" altLang="zh-CN" sz="1600" dirty="0">
              <a:solidFill>
                <a:srgbClr val="000000"/>
              </a:solidFill>
            </a:endParaRPr>
          </a:p>
        </p:txBody>
      </p:sp>
      <p:sp>
        <p:nvSpPr>
          <p:cNvPr id="76" name="Rectangle 21"/>
          <p:cNvSpPr>
            <a:spLocks noChangeArrowheads="1"/>
          </p:cNvSpPr>
          <p:nvPr/>
        </p:nvSpPr>
        <p:spPr bwMode="auto">
          <a:xfrm>
            <a:off x="6406673" y="2927364"/>
            <a:ext cx="185754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>
                <a:solidFill>
                  <a:srgbClr val="000000"/>
                </a:solidFill>
              </a:rPr>
              <a:t>这里输入文本信息</a:t>
            </a:r>
            <a:endParaRPr lang="en-US" altLang="zh-CN" sz="1600" dirty="0">
              <a:solidFill>
                <a:srgbClr val="000000"/>
              </a:solidFill>
            </a:endParaRPr>
          </a:p>
        </p:txBody>
      </p:sp>
      <p:sp>
        <p:nvSpPr>
          <p:cNvPr id="77" name="Rectangle 21"/>
          <p:cNvSpPr>
            <a:spLocks noChangeArrowheads="1"/>
          </p:cNvSpPr>
          <p:nvPr/>
        </p:nvSpPr>
        <p:spPr bwMode="auto">
          <a:xfrm>
            <a:off x="6406673" y="4003252"/>
            <a:ext cx="185754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>
                <a:solidFill>
                  <a:srgbClr val="000000"/>
                </a:solidFill>
              </a:rPr>
              <a:t>这里输入文本信息</a:t>
            </a:r>
            <a:endParaRPr lang="en-US" altLang="zh-CN" sz="1600" dirty="0">
              <a:solidFill>
                <a:srgbClr val="000000"/>
              </a:solidFill>
            </a:endParaRPr>
          </a:p>
        </p:txBody>
      </p:sp>
      <p:sp>
        <p:nvSpPr>
          <p:cNvPr id="78" name="Rectangle 62"/>
          <p:cNvSpPr>
            <a:spLocks noChangeArrowheads="1"/>
          </p:cNvSpPr>
          <p:nvPr/>
        </p:nvSpPr>
        <p:spPr bwMode="auto">
          <a:xfrm>
            <a:off x="1142976" y="1998670"/>
            <a:ext cx="1447800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kumimoji="0" lang="zh-CN" altLang="en-US" sz="24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견고딕"/>
              </a:rPr>
              <a:t>文本</a:t>
            </a:r>
            <a:endParaRPr kumimoji="0" lang="en-US" altLang="ko-KR" sz="24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cs typeface="견고딕"/>
            </a:endParaRPr>
          </a:p>
        </p:txBody>
      </p:sp>
      <p:sp>
        <p:nvSpPr>
          <p:cNvPr id="79" name="Rectangle 62"/>
          <p:cNvSpPr>
            <a:spLocks noChangeArrowheads="1"/>
          </p:cNvSpPr>
          <p:nvPr/>
        </p:nvSpPr>
        <p:spPr bwMode="auto">
          <a:xfrm>
            <a:off x="1142976" y="4959597"/>
            <a:ext cx="1447800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kumimoji="0" lang="zh-CN" altLang="en-US" sz="24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견고딕"/>
              </a:rPr>
              <a:t>文本</a:t>
            </a:r>
            <a:endParaRPr kumimoji="0" lang="en-US" altLang="ko-KR" sz="24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cs typeface="견고딕"/>
            </a:endParaRPr>
          </a:p>
        </p:txBody>
      </p:sp>
      <p:sp>
        <p:nvSpPr>
          <p:cNvPr id="80" name="Rectangle 62"/>
          <p:cNvSpPr>
            <a:spLocks noChangeArrowheads="1"/>
          </p:cNvSpPr>
          <p:nvPr/>
        </p:nvSpPr>
        <p:spPr bwMode="auto">
          <a:xfrm>
            <a:off x="6545486" y="1998670"/>
            <a:ext cx="1447800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kumimoji="0" lang="zh-CN" altLang="en-US" sz="24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견고딕"/>
              </a:rPr>
              <a:t>文本</a:t>
            </a:r>
            <a:endParaRPr kumimoji="0" lang="en-US" altLang="ko-KR" sz="24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cs typeface="견고딕"/>
            </a:endParaRPr>
          </a:p>
        </p:txBody>
      </p:sp>
      <p:sp>
        <p:nvSpPr>
          <p:cNvPr id="81" name="Rectangle 62"/>
          <p:cNvSpPr>
            <a:spLocks noChangeArrowheads="1"/>
          </p:cNvSpPr>
          <p:nvPr/>
        </p:nvSpPr>
        <p:spPr bwMode="auto">
          <a:xfrm>
            <a:off x="6545486" y="4959597"/>
            <a:ext cx="1447800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kumimoji="0" lang="zh-CN" altLang="en-US" sz="24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견고딕"/>
              </a:rPr>
              <a:t>文本</a:t>
            </a:r>
            <a:endParaRPr kumimoji="0" lang="en-US" altLang="ko-KR" sz="24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cs typeface="견고딕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500"/>
                            </p:stCondLst>
                            <p:childTnLst>
                              <p:par>
                                <p:cTn id="32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500"/>
                            </p:stCondLst>
                            <p:childTnLst>
                              <p:par>
                                <p:cTn id="44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0"/>
                            </p:stCondLst>
                            <p:childTnLst>
                              <p:par>
                                <p:cTn id="4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500"/>
                            </p:stCondLst>
                            <p:childTnLst>
                              <p:par>
                                <p:cTn id="56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000"/>
                            </p:stCondLst>
                            <p:childTnLst>
                              <p:par>
                                <p:cTn id="61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500"/>
                            </p:stCondLst>
                            <p:childTnLst>
                              <p:par>
                                <p:cTn id="68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7000"/>
                            </p:stCondLst>
                            <p:childTnLst>
                              <p:par>
                                <p:cTn id="73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7500"/>
                            </p:stCondLst>
                            <p:childTnLst>
                              <p:par>
                                <p:cTn id="8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8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8000"/>
                            </p:stCondLst>
                            <p:childTnLst>
                              <p:par>
                                <p:cTn id="8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86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8500"/>
                            </p:stCondLst>
                            <p:childTnLst>
                              <p:par>
                                <p:cTn id="8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90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9000"/>
                            </p:stCondLst>
                            <p:childTnLst>
                              <p:par>
                                <p:cTn id="9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94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59" grpId="0" animBg="1"/>
      <p:bldP spid="73" grpId="0"/>
      <p:bldP spid="74" grpId="0"/>
      <p:bldP spid="75" grpId="0"/>
      <p:bldP spid="76" grpId="0"/>
      <p:bldP spid="77" grpId="0"/>
      <p:bldP spid="78" grpId="0"/>
      <p:bldP spid="79" grpId="0"/>
      <p:bldP spid="80" grpId="0"/>
      <p:bldP spid="81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AutoShape 42"/>
          <p:cNvSpPr>
            <a:spLocks noChangeArrowheads="1"/>
          </p:cNvSpPr>
          <p:nvPr/>
        </p:nvSpPr>
        <p:spPr bwMode="auto">
          <a:xfrm rot="5400000">
            <a:off x="4009486" y="1846595"/>
            <a:ext cx="967362" cy="7255219"/>
          </a:xfrm>
          <a:prstGeom prst="can">
            <a:avLst>
              <a:gd name="adj" fmla="val 23229"/>
            </a:avLst>
          </a:prstGeom>
          <a:gradFill rotWithShape="0">
            <a:gsLst>
              <a:gs pos="0">
                <a:srgbClr val="9FA5D1"/>
              </a:gs>
              <a:gs pos="50000">
                <a:srgbClr val="FFFFFF"/>
              </a:gs>
              <a:gs pos="100000">
                <a:srgbClr val="9FA5D1"/>
              </a:gs>
            </a:gsLst>
            <a:lin ang="5400000" scaled="1"/>
          </a:gradFill>
          <a:ln w="9525">
            <a:solidFill>
              <a:srgbClr val="FFFFFF"/>
            </a:solidFill>
            <a:round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80" name="AutoShape 43"/>
          <p:cNvSpPr>
            <a:spLocks noChangeArrowheads="1"/>
          </p:cNvSpPr>
          <p:nvPr/>
        </p:nvSpPr>
        <p:spPr bwMode="auto">
          <a:xfrm>
            <a:off x="5615593" y="5088682"/>
            <a:ext cx="1712801" cy="746861"/>
          </a:xfrm>
          <a:prstGeom prst="homePlate">
            <a:avLst>
              <a:gd name="adj" fmla="val 37192"/>
            </a:avLst>
          </a:prstGeom>
          <a:ln>
            <a:headEnd/>
            <a:tailEnd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600" i="1" dirty="0" smtClean="0">
                <a:solidFill>
                  <a:srgbClr val="FFFFFF"/>
                </a:solidFill>
                <a:ea typeface="굴림" charset="-127"/>
              </a:rPr>
              <a:t>输入文字</a:t>
            </a:r>
            <a:endParaRPr lang="en-US" altLang="ko-KR" sz="1600" i="1" dirty="0">
              <a:solidFill>
                <a:srgbClr val="FFFFFF"/>
              </a:solidFill>
              <a:ea typeface="굴림" charset="-127"/>
            </a:endParaRPr>
          </a:p>
        </p:txBody>
      </p:sp>
      <p:sp>
        <p:nvSpPr>
          <p:cNvPr id="81" name="AutoShape 44"/>
          <p:cNvSpPr>
            <a:spLocks noChangeArrowheads="1"/>
          </p:cNvSpPr>
          <p:nvPr/>
        </p:nvSpPr>
        <p:spPr bwMode="auto">
          <a:xfrm>
            <a:off x="4131829" y="5088682"/>
            <a:ext cx="1711379" cy="746861"/>
          </a:xfrm>
          <a:prstGeom prst="homePlate">
            <a:avLst>
              <a:gd name="adj" fmla="val 37161"/>
            </a:avLst>
          </a:prstGeom>
          <a:gradFill rotWithShape="0"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>
            <a:outerShdw dist="45791" dir="2021404" algn="ctr" rotWithShape="0">
              <a:schemeClr val="tx1">
                <a:alpha val="50000"/>
              </a:scheme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zh-CN" altLang="en-US" sz="1600" i="1" dirty="0" smtClean="0">
                <a:solidFill>
                  <a:schemeClr val="bg2">
                    <a:lumMod val="75000"/>
                  </a:schemeClr>
                </a:solidFill>
                <a:ea typeface="굴림" charset="-127"/>
              </a:rPr>
              <a:t>输入文字</a:t>
            </a:r>
            <a:endParaRPr lang="en-US" altLang="ko-KR" sz="1600" i="1" dirty="0">
              <a:solidFill>
                <a:schemeClr val="bg2">
                  <a:lumMod val="75000"/>
                </a:schemeClr>
              </a:solidFill>
              <a:ea typeface="굴림" charset="-127"/>
            </a:endParaRPr>
          </a:p>
        </p:txBody>
      </p:sp>
      <p:sp>
        <p:nvSpPr>
          <p:cNvPr id="82" name="AutoShape 45"/>
          <p:cNvSpPr>
            <a:spLocks noChangeArrowheads="1"/>
          </p:cNvSpPr>
          <p:nvPr/>
        </p:nvSpPr>
        <p:spPr bwMode="auto">
          <a:xfrm>
            <a:off x="2594008" y="5088682"/>
            <a:ext cx="1708532" cy="746861"/>
          </a:xfrm>
          <a:prstGeom prst="homePlate">
            <a:avLst>
              <a:gd name="adj" fmla="val 32493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600" i="1" dirty="0" smtClean="0">
                <a:solidFill>
                  <a:schemeClr val="bg2">
                    <a:lumMod val="75000"/>
                  </a:schemeClr>
                </a:solidFill>
                <a:ea typeface="굴림" charset="-127"/>
              </a:rPr>
              <a:t>输入文字</a:t>
            </a:r>
            <a:endParaRPr lang="en-US" altLang="ko-KR" sz="1600" i="1" dirty="0">
              <a:solidFill>
                <a:schemeClr val="bg2">
                  <a:lumMod val="75000"/>
                </a:schemeClr>
              </a:solidFill>
              <a:ea typeface="굴림" charset="-127"/>
            </a:endParaRPr>
          </a:p>
        </p:txBody>
      </p:sp>
      <p:sp>
        <p:nvSpPr>
          <p:cNvPr id="83" name="AutoShape 46"/>
          <p:cNvSpPr>
            <a:spLocks noChangeArrowheads="1"/>
          </p:cNvSpPr>
          <p:nvPr/>
        </p:nvSpPr>
        <p:spPr bwMode="auto">
          <a:xfrm>
            <a:off x="1078947" y="5088682"/>
            <a:ext cx="1708533" cy="746861"/>
          </a:xfrm>
          <a:prstGeom prst="homePlate">
            <a:avLst>
              <a:gd name="adj" fmla="val 32493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600" i="1" dirty="0" smtClean="0">
                <a:solidFill>
                  <a:schemeClr val="bg2">
                    <a:lumMod val="75000"/>
                  </a:schemeClr>
                </a:solidFill>
                <a:ea typeface="굴림" charset="-127"/>
              </a:rPr>
              <a:t>输入文字</a:t>
            </a:r>
            <a:endParaRPr lang="en-US" altLang="ko-KR" sz="1600" i="1" dirty="0">
              <a:solidFill>
                <a:schemeClr val="bg2">
                  <a:lumMod val="75000"/>
                </a:schemeClr>
              </a:solidFill>
              <a:ea typeface="굴림" charset="-127"/>
            </a:endParaRPr>
          </a:p>
        </p:txBody>
      </p:sp>
      <p:sp>
        <p:nvSpPr>
          <p:cNvPr id="84" name="Line 47"/>
          <p:cNvSpPr>
            <a:spLocks noChangeShapeType="1"/>
          </p:cNvSpPr>
          <p:nvPr/>
        </p:nvSpPr>
        <p:spPr bwMode="auto">
          <a:xfrm>
            <a:off x="1014931" y="4882406"/>
            <a:ext cx="6886767" cy="0"/>
          </a:xfrm>
          <a:prstGeom prst="line">
            <a:avLst/>
          </a:prstGeom>
          <a:noFill/>
          <a:ln w="28575">
            <a:solidFill>
              <a:srgbClr val="969696"/>
            </a:solidFill>
            <a:prstDash val="sysDot"/>
            <a:round/>
            <a:headEnd/>
            <a:tailEnd type="triangle" w="sm" len="lg"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85" name="Rectangle 73"/>
          <p:cNvSpPr>
            <a:spLocks noChangeArrowheads="1"/>
          </p:cNvSpPr>
          <p:nvPr/>
        </p:nvSpPr>
        <p:spPr bwMode="auto">
          <a:xfrm>
            <a:off x="5580466" y="4495800"/>
            <a:ext cx="1569661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i="1" dirty="0" smtClean="0">
                <a:solidFill>
                  <a:schemeClr val="bg2">
                    <a:lumMod val="50000"/>
                  </a:schemeClr>
                </a:solidFill>
                <a:ea typeface="굴림" charset="-127"/>
              </a:rPr>
              <a:t>点击输入文字</a:t>
            </a:r>
            <a:endParaRPr lang="en-US" altLang="ko-KR" i="1" dirty="0">
              <a:solidFill>
                <a:schemeClr val="bg2">
                  <a:lumMod val="50000"/>
                </a:schemeClr>
              </a:solidFill>
              <a:ea typeface="굴림" charset="-127"/>
            </a:endParaRPr>
          </a:p>
        </p:txBody>
      </p:sp>
      <p:sp>
        <p:nvSpPr>
          <p:cNvPr id="86" name="圆角矩形 85"/>
          <p:cNvSpPr/>
          <p:nvPr/>
        </p:nvSpPr>
        <p:spPr>
          <a:xfrm>
            <a:off x="5509028" y="1538286"/>
            <a:ext cx="2857520" cy="2857520"/>
          </a:xfrm>
          <a:prstGeom prst="roundRect">
            <a:avLst/>
          </a:prstGeom>
          <a:effectLst>
            <a:outerShdw blurRad="40000" dist="23000" dir="5400000" rotWithShape="0">
              <a:srgbClr val="000000">
                <a:alpha val="35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圆角矩形 86"/>
          <p:cNvSpPr/>
          <p:nvPr/>
        </p:nvSpPr>
        <p:spPr>
          <a:xfrm>
            <a:off x="5790213" y="1859302"/>
            <a:ext cx="2286016" cy="357190"/>
          </a:xfrm>
          <a:prstGeom prst="roundRect">
            <a:avLst>
              <a:gd name="adj" fmla="val 50000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8" name="圆角矩形 87"/>
          <p:cNvSpPr/>
          <p:nvPr/>
        </p:nvSpPr>
        <p:spPr>
          <a:xfrm>
            <a:off x="5790213" y="2962725"/>
            <a:ext cx="2286016" cy="357190"/>
          </a:xfrm>
          <a:prstGeom prst="roundRect">
            <a:avLst>
              <a:gd name="adj" fmla="val 50000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9" name="Rectangle 63"/>
          <p:cNvSpPr>
            <a:spLocks noChangeArrowheads="1"/>
          </p:cNvSpPr>
          <p:nvPr/>
        </p:nvSpPr>
        <p:spPr bwMode="gray">
          <a:xfrm>
            <a:off x="5999938" y="1865641"/>
            <a:ext cx="182614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50000"/>
              </a:spcBef>
              <a:buClr>
                <a:srgbClr val="1F3F5F"/>
              </a:buClr>
            </a:pPr>
            <a:r>
              <a:rPr lang="zh-CN" altLang="en-US" sz="1600" b="1" dirty="0">
                <a:solidFill>
                  <a:schemeClr val="bg1"/>
                </a:solidFill>
              </a:rPr>
              <a:t>这里输入文本信息</a:t>
            </a:r>
            <a:endParaRPr lang="en-US" altLang="zh-CN" sz="1600" b="1" dirty="0">
              <a:solidFill>
                <a:schemeClr val="bg1"/>
              </a:solidFill>
            </a:endParaRPr>
          </a:p>
        </p:txBody>
      </p:sp>
      <p:sp>
        <p:nvSpPr>
          <p:cNvPr id="90" name="Rectangle 66"/>
          <p:cNvSpPr>
            <a:spLocks noChangeArrowheads="1"/>
          </p:cNvSpPr>
          <p:nvPr/>
        </p:nvSpPr>
        <p:spPr bwMode="auto">
          <a:xfrm>
            <a:off x="5794780" y="2264776"/>
            <a:ext cx="250033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/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这里输入文本</a:t>
            </a: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</a:rPr>
              <a:t>信息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这里输</a:t>
            </a: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</a:rPr>
              <a:t>入</a:t>
            </a:r>
            <a:endParaRPr lang="en-US" altLang="zh-CN" sz="1400" dirty="0">
              <a:solidFill>
                <a:schemeClr val="bg1">
                  <a:lumMod val="50000"/>
                </a:schemeClr>
              </a:solidFill>
            </a:endParaRPr>
          </a:p>
          <a:p>
            <a:pPr eaLnBrk="0" hangingPunct="0"/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这里输入文本</a:t>
            </a: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</a:rPr>
              <a:t>信息这里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输</a:t>
            </a: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</a:rPr>
              <a:t>入</a:t>
            </a:r>
            <a:endParaRPr lang="en-US" altLang="zh-CN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1" name="Rectangle 66"/>
          <p:cNvSpPr>
            <a:spLocks noChangeArrowheads="1"/>
          </p:cNvSpPr>
          <p:nvPr/>
        </p:nvSpPr>
        <p:spPr bwMode="auto">
          <a:xfrm>
            <a:off x="5794780" y="3337654"/>
            <a:ext cx="250033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/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这里输入文本</a:t>
            </a: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</a:rPr>
              <a:t>信息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这里输</a:t>
            </a: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</a:rPr>
              <a:t>入</a:t>
            </a:r>
            <a:endParaRPr lang="en-US" altLang="zh-CN" sz="1400" dirty="0">
              <a:solidFill>
                <a:schemeClr val="bg1">
                  <a:lumMod val="50000"/>
                </a:schemeClr>
              </a:solidFill>
            </a:endParaRPr>
          </a:p>
          <a:p>
            <a:pPr eaLnBrk="0" hangingPunct="0"/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这里输入文本</a:t>
            </a: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</a:rPr>
              <a:t>信息这里</a:t>
            </a:r>
            <a:r>
              <a:rPr lang="zh-CN" altLang="en-US" sz="1400" dirty="0">
                <a:solidFill>
                  <a:schemeClr val="bg1">
                    <a:lumMod val="50000"/>
                  </a:schemeClr>
                </a:solidFill>
              </a:rPr>
              <a:t>输</a:t>
            </a:r>
            <a:r>
              <a:rPr lang="zh-CN" altLang="en-US" sz="1400" dirty="0" smtClean="0">
                <a:solidFill>
                  <a:schemeClr val="bg1">
                    <a:lumMod val="50000"/>
                  </a:schemeClr>
                </a:solidFill>
              </a:rPr>
              <a:t>入</a:t>
            </a:r>
            <a:endParaRPr lang="en-US" altLang="zh-CN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2" name="Rectangle 63"/>
          <p:cNvSpPr>
            <a:spLocks noChangeArrowheads="1"/>
          </p:cNvSpPr>
          <p:nvPr/>
        </p:nvSpPr>
        <p:spPr bwMode="gray">
          <a:xfrm>
            <a:off x="5999938" y="2973127"/>
            <a:ext cx="182614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50000"/>
              </a:spcBef>
              <a:buClr>
                <a:srgbClr val="1F3F5F"/>
              </a:buClr>
            </a:pPr>
            <a:r>
              <a:rPr lang="zh-CN" altLang="en-US" sz="1600" b="1" dirty="0">
                <a:solidFill>
                  <a:schemeClr val="bg1"/>
                </a:solidFill>
              </a:rPr>
              <a:t>这里输入文本信息</a:t>
            </a:r>
            <a:endParaRPr lang="en-US" altLang="zh-CN" sz="1600" b="1" dirty="0">
              <a:solidFill>
                <a:schemeClr val="bg1"/>
              </a:solidFill>
            </a:endParaRPr>
          </a:p>
        </p:txBody>
      </p:sp>
      <p:graphicFrame>
        <p:nvGraphicFramePr>
          <p:cNvPr id="93" name="Object 3"/>
          <p:cNvGraphicFramePr>
            <a:graphicFrameLocks noChangeAspect="1"/>
          </p:cNvGraphicFramePr>
          <p:nvPr/>
        </p:nvGraphicFramePr>
        <p:xfrm>
          <a:off x="1071538" y="2181228"/>
          <a:ext cx="4119563" cy="2451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Chart" r:id="rId3" imgW="6305702" imgH="3752952" progId="">
                  <p:embed followColorScheme="full"/>
                </p:oleObj>
              </mc:Choice>
              <mc:Fallback>
                <p:oleObj name="Chart" r:id="rId3" imgW="6305702" imgH="3752952" progId="">
                  <p:embed followColorScheme="full"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071538" y="2181228"/>
                        <a:ext cx="4119563" cy="24511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10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1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500"/>
                            </p:stCondLst>
                            <p:childTnLst>
                              <p:par>
                                <p:cTn id="18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500"/>
                            </p:stCondLst>
                            <p:childTnLst>
                              <p:par>
                                <p:cTn id="28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000"/>
                            </p:stCondLst>
                            <p:childTnLst>
                              <p:par>
                                <p:cTn id="3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5" dur="1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0"/>
                            </p:stCondLst>
                            <p:childTnLst>
                              <p:par>
                                <p:cTn id="37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900" decel="100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000"/>
                            </p:stCondLst>
                            <p:childTnLst>
                              <p:par>
                                <p:cTn id="4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6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6500"/>
                            </p:stCondLst>
                            <p:childTnLst>
                              <p:par>
                                <p:cTn id="4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0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7000"/>
                            </p:stCondLst>
                            <p:childTnLst>
                              <p:par>
                                <p:cTn id="52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900" decel="100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8000"/>
                            </p:stCondLst>
                            <p:childTnLst>
                              <p:par>
                                <p:cTn id="5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1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8500"/>
                            </p:stCondLst>
                            <p:childTnLst>
                              <p:par>
                                <p:cTn id="6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9000"/>
                            </p:stCondLst>
                            <p:childTnLst>
                              <p:par>
                                <p:cTn id="6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9500"/>
                            </p:stCondLst>
                            <p:childTnLst>
                              <p:par>
                                <p:cTn id="72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 animBg="1"/>
      <p:bldP spid="80" grpId="0" animBg="1"/>
      <p:bldP spid="81" grpId="0" animBg="1"/>
      <p:bldP spid="82" grpId="0" animBg="1"/>
      <p:bldP spid="83" grpId="0" animBg="1"/>
      <p:bldP spid="84" grpId="0" animBg="1"/>
      <p:bldP spid="85" grpId="0"/>
      <p:bldP spid="86" grpId="0" animBg="1"/>
      <p:bldP spid="87" grpId="0" animBg="1"/>
      <p:bldP spid="88" grpId="0" animBg="1"/>
      <p:bldP spid="89" grpId="0"/>
      <p:bldP spid="90" grpId="0"/>
      <p:bldP spid="91" grpId="0"/>
      <p:bldP spid="92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组合 63"/>
          <p:cNvGrpSpPr/>
          <p:nvPr/>
        </p:nvGrpSpPr>
        <p:grpSpPr>
          <a:xfrm>
            <a:off x="5724525" y="2901424"/>
            <a:ext cx="895350" cy="2214563"/>
            <a:chOff x="5724525" y="2978150"/>
            <a:chExt cx="895350" cy="2214563"/>
          </a:xfrm>
        </p:grpSpPr>
        <p:sp>
          <p:nvSpPr>
            <p:cNvPr id="22531" name="AutoShape 3"/>
            <p:cNvSpPr>
              <a:spLocks noChangeArrowheads="1"/>
            </p:cNvSpPr>
            <p:nvPr/>
          </p:nvSpPr>
          <p:spPr bwMode="auto">
            <a:xfrm>
              <a:off x="5724525" y="4632325"/>
              <a:ext cx="895350" cy="560388"/>
            </a:xfrm>
            <a:prstGeom prst="can">
              <a:avLst>
                <a:gd name="adj" fmla="val 44917"/>
              </a:avLst>
            </a:prstGeom>
            <a:gradFill rotWithShape="1">
              <a:gsLst>
                <a:gs pos="0">
                  <a:srgbClr val="182326"/>
                </a:gs>
                <a:gs pos="50000">
                  <a:srgbClr val="182326">
                    <a:gamma/>
                    <a:tint val="58824"/>
                    <a:invGamma/>
                  </a:srgbClr>
                </a:gs>
                <a:gs pos="100000">
                  <a:srgbClr val="182326"/>
                </a:gs>
              </a:gsLst>
              <a:lin ang="0" scaled="1"/>
            </a:gradFill>
            <a:ln w="9525" cap="flat" cmpd="sng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22532" name="AutoShape 4"/>
            <p:cNvSpPr>
              <a:spLocks noChangeArrowheads="1"/>
            </p:cNvSpPr>
            <p:nvPr/>
          </p:nvSpPr>
          <p:spPr bwMode="auto">
            <a:xfrm>
              <a:off x="5724525" y="2978150"/>
              <a:ext cx="895350" cy="1876425"/>
            </a:xfrm>
            <a:prstGeom prst="can">
              <a:avLst>
                <a:gd name="adj" fmla="val 24285"/>
              </a:avLst>
            </a:prstGeom>
            <a:gradFill rotWithShape="1">
              <a:gsLst>
                <a:gs pos="0">
                  <a:schemeClr val="folHlink"/>
                </a:gs>
                <a:gs pos="50000">
                  <a:schemeClr val="folHlink">
                    <a:gamma/>
                    <a:tint val="24314"/>
                    <a:invGamma/>
                  </a:schemeClr>
                </a:gs>
                <a:gs pos="100000">
                  <a:schemeClr val="folHlink"/>
                </a:gs>
              </a:gsLst>
              <a:lin ang="0" scaled="1"/>
            </a:gradFill>
            <a:ln w="9525" cap="flat" cmpd="sng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65" name="组合 64"/>
          <p:cNvGrpSpPr/>
          <p:nvPr/>
        </p:nvGrpSpPr>
        <p:grpSpPr>
          <a:xfrm>
            <a:off x="6654800" y="2547412"/>
            <a:ext cx="893763" cy="2568575"/>
            <a:chOff x="6654800" y="2624138"/>
            <a:chExt cx="893763" cy="2568575"/>
          </a:xfrm>
        </p:grpSpPr>
        <p:sp>
          <p:nvSpPr>
            <p:cNvPr id="22533" name="AutoShape 5"/>
            <p:cNvSpPr>
              <a:spLocks noChangeArrowheads="1"/>
            </p:cNvSpPr>
            <p:nvPr/>
          </p:nvSpPr>
          <p:spPr bwMode="auto">
            <a:xfrm>
              <a:off x="6654800" y="4632325"/>
              <a:ext cx="893763" cy="560388"/>
            </a:xfrm>
            <a:prstGeom prst="can">
              <a:avLst>
                <a:gd name="adj" fmla="val 45245"/>
              </a:avLst>
            </a:prstGeom>
            <a:gradFill rotWithShape="1">
              <a:gsLst>
                <a:gs pos="0">
                  <a:srgbClr val="182326"/>
                </a:gs>
                <a:gs pos="50000">
                  <a:srgbClr val="182326">
                    <a:gamma/>
                    <a:tint val="58824"/>
                    <a:invGamma/>
                  </a:srgbClr>
                </a:gs>
                <a:gs pos="100000">
                  <a:srgbClr val="182326"/>
                </a:gs>
              </a:gsLst>
              <a:lin ang="0" scaled="1"/>
            </a:gradFill>
            <a:ln w="9525" cap="flat" cmpd="sng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22534" name="AutoShape 6"/>
            <p:cNvSpPr>
              <a:spLocks noChangeArrowheads="1"/>
            </p:cNvSpPr>
            <p:nvPr/>
          </p:nvSpPr>
          <p:spPr bwMode="auto">
            <a:xfrm>
              <a:off x="6654800" y="2624138"/>
              <a:ext cx="893763" cy="2230437"/>
            </a:xfrm>
            <a:prstGeom prst="can">
              <a:avLst>
                <a:gd name="adj" fmla="val 22795"/>
              </a:avLst>
            </a:prstGeom>
            <a:gradFill rotWithShape="1">
              <a:gsLst>
                <a:gs pos="0">
                  <a:schemeClr val="folHlink"/>
                </a:gs>
                <a:gs pos="50000">
                  <a:schemeClr val="folHlink">
                    <a:gamma/>
                    <a:tint val="24314"/>
                    <a:invGamma/>
                  </a:schemeClr>
                </a:gs>
                <a:gs pos="100000">
                  <a:schemeClr val="folHlink"/>
                </a:gs>
              </a:gsLst>
              <a:lin ang="0" scaled="1"/>
            </a:gradFill>
            <a:ln w="9525" cap="flat" cmpd="sng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62" name="组合 61"/>
          <p:cNvGrpSpPr/>
          <p:nvPr/>
        </p:nvGrpSpPr>
        <p:grpSpPr>
          <a:xfrm>
            <a:off x="3486150" y="3663424"/>
            <a:ext cx="895350" cy="1450975"/>
            <a:chOff x="3486150" y="3740150"/>
            <a:chExt cx="895350" cy="1450975"/>
          </a:xfrm>
        </p:grpSpPr>
        <p:sp>
          <p:nvSpPr>
            <p:cNvPr id="22535" name="AutoShape 7"/>
            <p:cNvSpPr>
              <a:spLocks noChangeArrowheads="1"/>
            </p:cNvSpPr>
            <p:nvPr/>
          </p:nvSpPr>
          <p:spPr bwMode="auto">
            <a:xfrm>
              <a:off x="3486150" y="4643438"/>
              <a:ext cx="895350" cy="547687"/>
            </a:xfrm>
            <a:prstGeom prst="can">
              <a:avLst>
                <a:gd name="adj" fmla="val 45796"/>
              </a:avLst>
            </a:prstGeom>
            <a:gradFill rotWithShape="1">
              <a:gsLst>
                <a:gs pos="0">
                  <a:srgbClr val="182326"/>
                </a:gs>
                <a:gs pos="50000">
                  <a:srgbClr val="182326">
                    <a:gamma/>
                    <a:tint val="58824"/>
                    <a:invGamma/>
                  </a:srgbClr>
                </a:gs>
                <a:gs pos="100000">
                  <a:srgbClr val="182326"/>
                </a:gs>
              </a:gsLst>
              <a:lin ang="0" scaled="1"/>
            </a:gradFill>
            <a:ln w="9525" cap="flat" cmpd="sng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22536" name="AutoShape 8"/>
            <p:cNvSpPr>
              <a:spLocks noChangeArrowheads="1"/>
            </p:cNvSpPr>
            <p:nvPr/>
          </p:nvSpPr>
          <p:spPr bwMode="auto">
            <a:xfrm>
              <a:off x="3486150" y="3740150"/>
              <a:ext cx="895350" cy="1125538"/>
            </a:xfrm>
            <a:prstGeom prst="can">
              <a:avLst>
                <a:gd name="adj" fmla="val 24822"/>
              </a:avLst>
            </a:prstGeom>
            <a:gradFill rotWithShape="1">
              <a:gsLst>
                <a:gs pos="0">
                  <a:schemeClr val="accent2"/>
                </a:gs>
                <a:gs pos="50000">
                  <a:schemeClr val="accent2">
                    <a:gamma/>
                    <a:tint val="24314"/>
                    <a:invGamma/>
                  </a:schemeClr>
                </a:gs>
                <a:gs pos="100000">
                  <a:schemeClr val="accent2"/>
                </a:gs>
              </a:gsLst>
              <a:lin ang="0" scaled="1"/>
            </a:gradFill>
            <a:ln w="9525" cap="flat" cmpd="sng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63" name="组合 62"/>
          <p:cNvGrpSpPr/>
          <p:nvPr/>
        </p:nvGrpSpPr>
        <p:grpSpPr>
          <a:xfrm>
            <a:off x="4416425" y="3301474"/>
            <a:ext cx="904875" cy="1814513"/>
            <a:chOff x="4416425" y="3378200"/>
            <a:chExt cx="904875" cy="1814513"/>
          </a:xfrm>
        </p:grpSpPr>
        <p:sp>
          <p:nvSpPr>
            <p:cNvPr id="22537" name="AutoShape 9"/>
            <p:cNvSpPr>
              <a:spLocks noChangeArrowheads="1"/>
            </p:cNvSpPr>
            <p:nvPr/>
          </p:nvSpPr>
          <p:spPr bwMode="auto">
            <a:xfrm>
              <a:off x="4416425" y="4632325"/>
              <a:ext cx="904875" cy="560388"/>
            </a:xfrm>
            <a:prstGeom prst="can">
              <a:avLst>
                <a:gd name="adj" fmla="val 49292"/>
              </a:avLst>
            </a:prstGeom>
            <a:gradFill rotWithShape="1">
              <a:gsLst>
                <a:gs pos="0">
                  <a:srgbClr val="182326"/>
                </a:gs>
                <a:gs pos="50000">
                  <a:srgbClr val="182326">
                    <a:gamma/>
                    <a:tint val="58824"/>
                    <a:invGamma/>
                  </a:srgbClr>
                </a:gs>
                <a:gs pos="100000">
                  <a:srgbClr val="182326"/>
                </a:gs>
              </a:gsLst>
              <a:lin ang="0" scaled="1"/>
            </a:gradFill>
            <a:ln w="9525" cap="flat" cmpd="sng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22538" name="AutoShape 10"/>
            <p:cNvSpPr>
              <a:spLocks noChangeArrowheads="1"/>
            </p:cNvSpPr>
            <p:nvPr/>
          </p:nvSpPr>
          <p:spPr bwMode="auto">
            <a:xfrm>
              <a:off x="4416425" y="3378200"/>
              <a:ext cx="904875" cy="1487488"/>
            </a:xfrm>
            <a:prstGeom prst="can">
              <a:avLst>
                <a:gd name="adj" fmla="val 25267"/>
              </a:avLst>
            </a:prstGeom>
            <a:gradFill rotWithShape="1">
              <a:gsLst>
                <a:gs pos="0">
                  <a:schemeClr val="accent2"/>
                </a:gs>
                <a:gs pos="50000">
                  <a:schemeClr val="accent2">
                    <a:gamma/>
                    <a:tint val="24314"/>
                    <a:invGamma/>
                  </a:schemeClr>
                </a:gs>
                <a:gs pos="100000">
                  <a:schemeClr val="accent2"/>
                </a:gs>
              </a:gsLst>
              <a:lin ang="0" scaled="1"/>
            </a:gradFill>
            <a:ln w="9525" cap="flat" cmpd="sng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60" name="组合 59"/>
          <p:cNvGrpSpPr/>
          <p:nvPr/>
        </p:nvGrpSpPr>
        <p:grpSpPr>
          <a:xfrm>
            <a:off x="1304925" y="4303187"/>
            <a:ext cx="893763" cy="800100"/>
            <a:chOff x="1304925" y="4379913"/>
            <a:chExt cx="893763" cy="800100"/>
          </a:xfrm>
        </p:grpSpPr>
        <p:sp>
          <p:nvSpPr>
            <p:cNvPr id="22539" name="AutoShape 11"/>
            <p:cNvSpPr>
              <a:spLocks noChangeArrowheads="1"/>
            </p:cNvSpPr>
            <p:nvPr/>
          </p:nvSpPr>
          <p:spPr bwMode="auto">
            <a:xfrm>
              <a:off x="1304925" y="4708525"/>
              <a:ext cx="893763" cy="471488"/>
            </a:xfrm>
            <a:prstGeom prst="can">
              <a:avLst>
                <a:gd name="adj" fmla="val 40403"/>
              </a:avLst>
            </a:prstGeom>
            <a:gradFill rotWithShape="1">
              <a:gsLst>
                <a:gs pos="0">
                  <a:srgbClr val="182326"/>
                </a:gs>
                <a:gs pos="50000">
                  <a:srgbClr val="182326">
                    <a:gamma/>
                    <a:tint val="58824"/>
                    <a:invGamma/>
                  </a:srgbClr>
                </a:gs>
                <a:gs pos="100000">
                  <a:srgbClr val="182326"/>
                </a:gs>
              </a:gsLst>
              <a:lin ang="0" scaled="1"/>
            </a:gradFill>
            <a:ln w="9525" cap="flat" cmpd="sng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22540" name="AutoShape 12"/>
            <p:cNvSpPr>
              <a:spLocks noChangeArrowheads="1"/>
            </p:cNvSpPr>
            <p:nvPr/>
          </p:nvSpPr>
          <p:spPr bwMode="auto">
            <a:xfrm>
              <a:off x="1304925" y="4379913"/>
              <a:ext cx="893763" cy="485775"/>
            </a:xfrm>
            <a:prstGeom prst="can">
              <a:avLst>
                <a:gd name="adj" fmla="val 36273"/>
              </a:avLst>
            </a:prstGeom>
            <a:gradFill rotWithShape="1">
              <a:gsLst>
                <a:gs pos="0">
                  <a:schemeClr val="accent1"/>
                </a:gs>
                <a:gs pos="50000">
                  <a:schemeClr val="accent1">
                    <a:gamma/>
                    <a:tint val="21176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 cap="flat" cmpd="sng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61" name="组合 60"/>
          <p:cNvGrpSpPr/>
          <p:nvPr/>
        </p:nvGrpSpPr>
        <p:grpSpPr>
          <a:xfrm>
            <a:off x="2235200" y="3947587"/>
            <a:ext cx="893763" cy="1163637"/>
            <a:chOff x="2235200" y="4024313"/>
            <a:chExt cx="893763" cy="1163637"/>
          </a:xfrm>
        </p:grpSpPr>
        <p:sp>
          <p:nvSpPr>
            <p:cNvPr id="22541" name="AutoShape 13"/>
            <p:cNvSpPr>
              <a:spLocks noChangeArrowheads="1"/>
            </p:cNvSpPr>
            <p:nvPr/>
          </p:nvSpPr>
          <p:spPr bwMode="auto">
            <a:xfrm>
              <a:off x="2235200" y="4664075"/>
              <a:ext cx="893763" cy="523875"/>
            </a:xfrm>
            <a:prstGeom prst="can">
              <a:avLst>
                <a:gd name="adj" fmla="val 45153"/>
              </a:avLst>
            </a:prstGeom>
            <a:gradFill rotWithShape="1">
              <a:gsLst>
                <a:gs pos="0">
                  <a:srgbClr val="182326"/>
                </a:gs>
                <a:gs pos="50000">
                  <a:srgbClr val="182326">
                    <a:gamma/>
                    <a:tint val="58824"/>
                    <a:invGamma/>
                  </a:srgbClr>
                </a:gs>
                <a:gs pos="100000">
                  <a:srgbClr val="182326"/>
                </a:gs>
              </a:gsLst>
              <a:lin ang="0" scaled="1"/>
            </a:gradFill>
            <a:ln w="9525" cap="flat" cmpd="sng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22542" name="AutoShape 14"/>
            <p:cNvSpPr>
              <a:spLocks noChangeArrowheads="1"/>
            </p:cNvSpPr>
            <p:nvPr/>
          </p:nvSpPr>
          <p:spPr bwMode="auto">
            <a:xfrm>
              <a:off x="2235200" y="4024313"/>
              <a:ext cx="893763" cy="841375"/>
            </a:xfrm>
            <a:prstGeom prst="can">
              <a:avLst>
                <a:gd name="adj" fmla="val 25093"/>
              </a:avLst>
            </a:prstGeom>
            <a:gradFill rotWithShape="1">
              <a:gsLst>
                <a:gs pos="0">
                  <a:schemeClr val="accent1"/>
                </a:gs>
                <a:gs pos="50000">
                  <a:schemeClr val="accent1">
                    <a:gamma/>
                    <a:tint val="21176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 cap="flat" cmpd="sng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/>
            </a:p>
          </p:txBody>
        </p:sp>
      </p:grpSp>
      <p:sp>
        <p:nvSpPr>
          <p:cNvPr id="22543" name="Rectangle 15"/>
          <p:cNvSpPr>
            <a:spLocks noChangeArrowheads="1"/>
          </p:cNvSpPr>
          <p:nvPr/>
        </p:nvSpPr>
        <p:spPr bwMode="auto">
          <a:xfrm>
            <a:off x="1603375" y="5181074"/>
            <a:ext cx="1249363" cy="304800"/>
          </a:xfrm>
          <a:prstGeom prst="rect">
            <a:avLst/>
          </a:prstGeom>
          <a:noFill/>
          <a:ln w="9525" cap="flat" cmpd="sng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400" b="1" dirty="0">
                <a:ea typeface="宋体" pitchFamily="2" charset="-122"/>
              </a:rPr>
              <a:t>点击输入文本</a:t>
            </a:r>
          </a:p>
        </p:txBody>
      </p:sp>
      <p:sp>
        <p:nvSpPr>
          <p:cNvPr id="22544" name="Rectangle 16"/>
          <p:cNvSpPr>
            <a:spLocks noChangeArrowheads="1"/>
          </p:cNvSpPr>
          <p:nvPr/>
        </p:nvSpPr>
        <p:spPr bwMode="auto">
          <a:xfrm>
            <a:off x="3775075" y="5181074"/>
            <a:ext cx="1249363" cy="304800"/>
          </a:xfrm>
          <a:prstGeom prst="rect">
            <a:avLst/>
          </a:prstGeom>
          <a:noFill/>
          <a:ln w="9525" cap="flat" cmpd="sng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400" b="1" dirty="0">
                <a:ea typeface="宋体" pitchFamily="2" charset="-122"/>
              </a:rPr>
              <a:t>点击输入文本</a:t>
            </a:r>
          </a:p>
        </p:txBody>
      </p:sp>
      <p:sp>
        <p:nvSpPr>
          <p:cNvPr id="22545" name="Rectangle 17"/>
          <p:cNvSpPr>
            <a:spLocks noChangeArrowheads="1"/>
          </p:cNvSpPr>
          <p:nvPr/>
        </p:nvSpPr>
        <p:spPr bwMode="auto">
          <a:xfrm>
            <a:off x="6003925" y="5181074"/>
            <a:ext cx="1249363" cy="304800"/>
          </a:xfrm>
          <a:prstGeom prst="rect">
            <a:avLst/>
          </a:prstGeom>
          <a:noFill/>
          <a:ln w="9525" cap="flat" cmpd="sng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400" b="1" dirty="0">
                <a:ea typeface="宋体" pitchFamily="2" charset="-122"/>
              </a:rPr>
              <a:t>点击输入文本</a:t>
            </a:r>
          </a:p>
        </p:txBody>
      </p:sp>
      <p:sp>
        <p:nvSpPr>
          <p:cNvPr id="22546" name="Rectangle 18"/>
          <p:cNvSpPr>
            <a:spLocks noChangeArrowheads="1"/>
          </p:cNvSpPr>
          <p:nvPr/>
        </p:nvSpPr>
        <p:spPr bwMode="auto">
          <a:xfrm>
            <a:off x="2844800" y="2036237"/>
            <a:ext cx="690563" cy="396875"/>
          </a:xfrm>
          <a:prstGeom prst="rect">
            <a:avLst/>
          </a:prstGeom>
          <a:noFill/>
          <a:ln w="9525" cap="flat" cmpd="sng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zh-CN" altLang="en-US" sz="2000" dirty="0">
                <a:ea typeface="宋体" pitchFamily="2" charset="-122"/>
              </a:rPr>
              <a:t>文本</a:t>
            </a:r>
          </a:p>
        </p:txBody>
      </p:sp>
      <p:grpSp>
        <p:nvGrpSpPr>
          <p:cNvPr id="67" name="组合 66"/>
          <p:cNvGrpSpPr/>
          <p:nvPr/>
        </p:nvGrpSpPr>
        <p:grpSpPr>
          <a:xfrm>
            <a:off x="2351088" y="3387199"/>
            <a:ext cx="660400" cy="657225"/>
            <a:chOff x="2351088" y="3463925"/>
            <a:chExt cx="660400" cy="657225"/>
          </a:xfrm>
        </p:grpSpPr>
        <p:grpSp>
          <p:nvGrpSpPr>
            <p:cNvPr id="22550" name="Group 22"/>
            <p:cNvGrpSpPr>
              <a:grpSpLocks/>
            </p:cNvGrpSpPr>
            <p:nvPr/>
          </p:nvGrpSpPr>
          <p:grpSpPr bwMode="auto">
            <a:xfrm>
              <a:off x="2351088" y="3463925"/>
              <a:ext cx="660400" cy="657225"/>
              <a:chOff x="0" y="0"/>
              <a:chExt cx="416" cy="414"/>
            </a:xfrm>
          </p:grpSpPr>
          <p:sp>
            <p:nvSpPr>
              <p:cNvPr id="22551" name="Oval 23"/>
              <p:cNvSpPr>
                <a:spLocks noChangeArrowheads="1"/>
              </p:cNvSpPr>
              <p:nvPr/>
            </p:nvSpPr>
            <p:spPr bwMode="auto">
              <a:xfrm>
                <a:off x="0" y="2"/>
                <a:ext cx="416" cy="412"/>
              </a:xfrm>
              <a:prstGeom prst="ellipse">
                <a:avLst/>
              </a:prstGeom>
              <a:solidFill>
                <a:schemeClr val="accent1">
                  <a:alpha val="70000"/>
                </a:schemeClr>
              </a:solidFill>
              <a:ln w="28575" cap="flat" cmpd="sng">
                <a:solidFill>
                  <a:srgbClr val="F8F8F8">
                    <a:alpha val="65999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pic>
            <p:nvPicPr>
              <p:cNvPr id="22552" name="Picture 24" descr="cir_lighteffect0"/>
              <p:cNvPicPr>
                <a:picLocks noChangeAspect="1" noChangeArrowheads="1"/>
              </p:cNvPicPr>
              <p:nvPr/>
            </p:nvPicPr>
            <p:blipFill>
              <a:blip r:embed="rId2" cstate="print">
                <a:lum bright="18000" contrast="-12000"/>
              </a:blip>
              <a:srcRect/>
              <a:stretch>
                <a:fillRect/>
              </a:stretch>
            </p:blipFill>
            <p:spPr bwMode="auto">
              <a:xfrm>
                <a:off x="35" y="0"/>
                <a:ext cx="344" cy="344"/>
              </a:xfrm>
              <a:prstGeom prst="rect">
                <a:avLst/>
              </a:prstGeom>
              <a:noFill/>
              <a:ln w="9525" cap="flat" cmpd="sng">
                <a:noFill/>
                <a:miter lim="800000"/>
                <a:headEnd/>
                <a:tailEnd/>
              </a:ln>
              <a:effectLst/>
            </p:spPr>
          </p:pic>
        </p:grpSp>
        <p:sp>
          <p:nvSpPr>
            <p:cNvPr id="22553" name="Text Box 25"/>
            <p:cNvSpPr txBox="1">
              <a:spLocks noChangeArrowheads="1"/>
            </p:cNvSpPr>
            <p:nvPr/>
          </p:nvSpPr>
          <p:spPr bwMode="auto">
            <a:xfrm>
              <a:off x="2384425" y="3635375"/>
              <a:ext cx="582613" cy="366713"/>
            </a:xfrm>
            <a:prstGeom prst="rect">
              <a:avLst/>
            </a:prstGeom>
            <a:noFill/>
            <a:ln w="9525" cap="flat" cmpd="sng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b="1" dirty="0">
                  <a:ea typeface="宋体" pitchFamily="2" charset="-122"/>
                  <a:cs typeface="Arial" pitchFamily="34" charset="0"/>
                </a:rPr>
                <a:t>800</a:t>
              </a:r>
            </a:p>
          </p:txBody>
        </p:sp>
      </p:grpSp>
      <p:grpSp>
        <p:nvGrpSpPr>
          <p:cNvPr id="68" name="组合 67"/>
          <p:cNvGrpSpPr/>
          <p:nvPr/>
        </p:nvGrpSpPr>
        <p:grpSpPr>
          <a:xfrm>
            <a:off x="3487738" y="3137962"/>
            <a:ext cx="866775" cy="657225"/>
            <a:chOff x="3487738" y="3214688"/>
            <a:chExt cx="866775" cy="657225"/>
          </a:xfrm>
        </p:grpSpPr>
        <p:grpSp>
          <p:nvGrpSpPr>
            <p:cNvPr id="22554" name="Group 26"/>
            <p:cNvGrpSpPr>
              <a:grpSpLocks/>
            </p:cNvGrpSpPr>
            <p:nvPr/>
          </p:nvGrpSpPr>
          <p:grpSpPr bwMode="auto">
            <a:xfrm>
              <a:off x="3597275" y="3214688"/>
              <a:ext cx="660400" cy="657225"/>
              <a:chOff x="0" y="0"/>
              <a:chExt cx="416" cy="414"/>
            </a:xfrm>
          </p:grpSpPr>
          <p:sp>
            <p:nvSpPr>
              <p:cNvPr id="22555" name="Oval 27"/>
              <p:cNvSpPr>
                <a:spLocks noChangeArrowheads="1"/>
              </p:cNvSpPr>
              <p:nvPr/>
            </p:nvSpPr>
            <p:spPr bwMode="auto">
              <a:xfrm>
                <a:off x="0" y="2"/>
                <a:ext cx="416" cy="412"/>
              </a:xfrm>
              <a:prstGeom prst="ellipse">
                <a:avLst/>
              </a:prstGeom>
              <a:solidFill>
                <a:schemeClr val="accent2">
                  <a:alpha val="70000"/>
                </a:schemeClr>
              </a:solidFill>
              <a:ln w="28575" cap="flat" cmpd="sng">
                <a:solidFill>
                  <a:srgbClr val="F8F8F8">
                    <a:alpha val="65999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pic>
            <p:nvPicPr>
              <p:cNvPr id="22556" name="Picture 28" descr="cir_lighteffect0"/>
              <p:cNvPicPr>
                <a:picLocks noChangeAspect="1" noChangeArrowheads="1"/>
              </p:cNvPicPr>
              <p:nvPr/>
            </p:nvPicPr>
            <p:blipFill>
              <a:blip r:embed="rId2" cstate="print">
                <a:lum bright="18000" contrast="-12000"/>
              </a:blip>
              <a:srcRect/>
              <a:stretch>
                <a:fillRect/>
              </a:stretch>
            </p:blipFill>
            <p:spPr bwMode="auto">
              <a:xfrm>
                <a:off x="35" y="0"/>
                <a:ext cx="344" cy="344"/>
              </a:xfrm>
              <a:prstGeom prst="rect">
                <a:avLst/>
              </a:prstGeom>
              <a:noFill/>
              <a:ln w="9525" cap="flat" cmpd="sng">
                <a:noFill/>
                <a:miter lim="800000"/>
                <a:headEnd/>
                <a:tailEnd/>
              </a:ln>
              <a:effectLst/>
            </p:spPr>
          </p:pic>
        </p:grpSp>
        <p:sp>
          <p:nvSpPr>
            <p:cNvPr id="22560" name="Text Box 32"/>
            <p:cNvSpPr txBox="1">
              <a:spLocks noChangeArrowheads="1"/>
            </p:cNvSpPr>
            <p:nvPr/>
          </p:nvSpPr>
          <p:spPr bwMode="auto">
            <a:xfrm>
              <a:off x="3487738" y="3373438"/>
              <a:ext cx="866775" cy="336550"/>
            </a:xfrm>
            <a:prstGeom prst="rect">
              <a:avLst/>
            </a:prstGeom>
            <a:noFill/>
            <a:ln w="9525" cap="flat" cmpd="sng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1600" b="1" dirty="0">
                  <a:solidFill>
                    <a:srgbClr val="FFFFFF"/>
                  </a:solidFill>
                  <a:ea typeface="宋体" pitchFamily="2" charset="-122"/>
                  <a:cs typeface="Arial" pitchFamily="34" charset="0"/>
                </a:rPr>
                <a:t>1,000</a:t>
              </a:r>
            </a:p>
          </p:txBody>
        </p:sp>
      </p:grpSp>
      <p:grpSp>
        <p:nvGrpSpPr>
          <p:cNvPr id="69" name="组合 68"/>
          <p:cNvGrpSpPr/>
          <p:nvPr/>
        </p:nvGrpSpPr>
        <p:grpSpPr>
          <a:xfrm>
            <a:off x="4445000" y="2755374"/>
            <a:ext cx="866775" cy="657225"/>
            <a:chOff x="4445000" y="2832100"/>
            <a:chExt cx="866775" cy="657225"/>
          </a:xfrm>
        </p:grpSpPr>
        <p:grpSp>
          <p:nvGrpSpPr>
            <p:cNvPr id="22561" name="Group 33"/>
            <p:cNvGrpSpPr>
              <a:grpSpLocks/>
            </p:cNvGrpSpPr>
            <p:nvPr/>
          </p:nvGrpSpPr>
          <p:grpSpPr bwMode="auto">
            <a:xfrm>
              <a:off x="4545013" y="2832100"/>
              <a:ext cx="660400" cy="657225"/>
              <a:chOff x="0" y="0"/>
              <a:chExt cx="416" cy="414"/>
            </a:xfrm>
          </p:grpSpPr>
          <p:sp>
            <p:nvSpPr>
              <p:cNvPr id="22562" name="Oval 34"/>
              <p:cNvSpPr>
                <a:spLocks noChangeArrowheads="1"/>
              </p:cNvSpPr>
              <p:nvPr/>
            </p:nvSpPr>
            <p:spPr bwMode="auto">
              <a:xfrm>
                <a:off x="0" y="2"/>
                <a:ext cx="416" cy="412"/>
              </a:xfrm>
              <a:prstGeom prst="ellipse">
                <a:avLst/>
              </a:prstGeom>
              <a:solidFill>
                <a:schemeClr val="accent2">
                  <a:alpha val="70000"/>
                </a:schemeClr>
              </a:solidFill>
              <a:ln w="28575" cap="flat" cmpd="sng">
                <a:solidFill>
                  <a:srgbClr val="F8F8F8">
                    <a:alpha val="65999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pic>
            <p:nvPicPr>
              <p:cNvPr id="22563" name="Picture 35" descr="cir_lighteffect0"/>
              <p:cNvPicPr>
                <a:picLocks noChangeAspect="1" noChangeArrowheads="1"/>
              </p:cNvPicPr>
              <p:nvPr/>
            </p:nvPicPr>
            <p:blipFill>
              <a:blip r:embed="rId2" cstate="print">
                <a:lum bright="18000" contrast="-12000"/>
              </a:blip>
              <a:srcRect/>
              <a:stretch>
                <a:fillRect/>
              </a:stretch>
            </p:blipFill>
            <p:spPr bwMode="auto">
              <a:xfrm>
                <a:off x="35" y="0"/>
                <a:ext cx="344" cy="344"/>
              </a:xfrm>
              <a:prstGeom prst="rect">
                <a:avLst/>
              </a:prstGeom>
              <a:noFill/>
              <a:ln w="9525" cap="flat" cmpd="sng">
                <a:noFill/>
                <a:miter lim="800000"/>
                <a:headEnd/>
                <a:tailEnd/>
              </a:ln>
              <a:effectLst/>
            </p:spPr>
          </p:pic>
        </p:grpSp>
        <p:sp>
          <p:nvSpPr>
            <p:cNvPr id="22564" name="Text Box 36"/>
            <p:cNvSpPr txBox="1">
              <a:spLocks noChangeArrowheads="1"/>
            </p:cNvSpPr>
            <p:nvPr/>
          </p:nvSpPr>
          <p:spPr bwMode="auto">
            <a:xfrm>
              <a:off x="4445000" y="2981325"/>
              <a:ext cx="866775" cy="336550"/>
            </a:xfrm>
            <a:prstGeom prst="rect">
              <a:avLst/>
            </a:prstGeom>
            <a:noFill/>
            <a:ln w="9525" cap="flat" cmpd="sng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1600" b="1" dirty="0">
                  <a:solidFill>
                    <a:srgbClr val="FFFFFF"/>
                  </a:solidFill>
                  <a:ea typeface="宋体" pitchFamily="2" charset="-122"/>
                  <a:cs typeface="Arial" pitchFamily="34" charset="0"/>
                </a:rPr>
                <a:t>1,500</a:t>
              </a:r>
            </a:p>
          </p:txBody>
        </p:sp>
      </p:grpSp>
      <p:grpSp>
        <p:nvGrpSpPr>
          <p:cNvPr id="70" name="组合 69"/>
          <p:cNvGrpSpPr/>
          <p:nvPr/>
        </p:nvGrpSpPr>
        <p:grpSpPr>
          <a:xfrm>
            <a:off x="5745163" y="2371199"/>
            <a:ext cx="866775" cy="657225"/>
            <a:chOff x="5745163" y="2447925"/>
            <a:chExt cx="866775" cy="657225"/>
          </a:xfrm>
        </p:grpSpPr>
        <p:grpSp>
          <p:nvGrpSpPr>
            <p:cNvPr id="22557" name="Group 29"/>
            <p:cNvGrpSpPr>
              <a:grpSpLocks/>
            </p:cNvGrpSpPr>
            <p:nvPr/>
          </p:nvGrpSpPr>
          <p:grpSpPr bwMode="auto">
            <a:xfrm>
              <a:off x="5843588" y="2447925"/>
              <a:ext cx="660400" cy="657225"/>
              <a:chOff x="0" y="0"/>
              <a:chExt cx="416" cy="414"/>
            </a:xfrm>
          </p:grpSpPr>
          <p:sp>
            <p:nvSpPr>
              <p:cNvPr id="22558" name="Oval 30"/>
              <p:cNvSpPr>
                <a:spLocks noChangeArrowheads="1"/>
              </p:cNvSpPr>
              <p:nvPr/>
            </p:nvSpPr>
            <p:spPr bwMode="auto">
              <a:xfrm>
                <a:off x="0" y="2"/>
                <a:ext cx="416" cy="412"/>
              </a:xfrm>
              <a:prstGeom prst="ellipse">
                <a:avLst/>
              </a:prstGeom>
              <a:solidFill>
                <a:schemeClr val="folHlink">
                  <a:alpha val="70000"/>
                </a:schemeClr>
              </a:solidFill>
              <a:ln w="28575" cap="flat" cmpd="sng">
                <a:solidFill>
                  <a:srgbClr val="F8F8F8">
                    <a:alpha val="65999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pic>
            <p:nvPicPr>
              <p:cNvPr id="22559" name="Picture 31" descr="cir_lighteffect0"/>
              <p:cNvPicPr>
                <a:picLocks noChangeAspect="1" noChangeArrowheads="1"/>
              </p:cNvPicPr>
              <p:nvPr/>
            </p:nvPicPr>
            <p:blipFill>
              <a:blip r:embed="rId2" cstate="print">
                <a:lum bright="18000" contrast="-12000"/>
              </a:blip>
              <a:srcRect/>
              <a:stretch>
                <a:fillRect/>
              </a:stretch>
            </p:blipFill>
            <p:spPr bwMode="auto">
              <a:xfrm>
                <a:off x="35" y="0"/>
                <a:ext cx="344" cy="344"/>
              </a:xfrm>
              <a:prstGeom prst="rect">
                <a:avLst/>
              </a:prstGeom>
              <a:noFill/>
              <a:ln w="9525" cap="flat" cmpd="sng">
                <a:noFill/>
                <a:miter lim="800000"/>
                <a:headEnd/>
                <a:tailEnd/>
              </a:ln>
              <a:effectLst/>
            </p:spPr>
          </p:pic>
        </p:grpSp>
        <p:sp>
          <p:nvSpPr>
            <p:cNvPr id="22565" name="Text Box 37"/>
            <p:cNvSpPr txBox="1">
              <a:spLocks noChangeArrowheads="1"/>
            </p:cNvSpPr>
            <p:nvPr/>
          </p:nvSpPr>
          <p:spPr bwMode="auto">
            <a:xfrm>
              <a:off x="5745163" y="2608263"/>
              <a:ext cx="866775" cy="336550"/>
            </a:xfrm>
            <a:prstGeom prst="rect">
              <a:avLst/>
            </a:prstGeom>
            <a:noFill/>
            <a:ln w="9525" cap="flat" cmpd="sng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1600" b="1" dirty="0">
                  <a:ea typeface="宋体" pitchFamily="2" charset="-122"/>
                  <a:cs typeface="Arial" pitchFamily="34" charset="0"/>
                </a:rPr>
                <a:t>1,500</a:t>
              </a:r>
            </a:p>
          </p:txBody>
        </p:sp>
      </p:grpSp>
      <p:grpSp>
        <p:nvGrpSpPr>
          <p:cNvPr id="71" name="组合 70"/>
          <p:cNvGrpSpPr/>
          <p:nvPr/>
        </p:nvGrpSpPr>
        <p:grpSpPr>
          <a:xfrm>
            <a:off x="6650038" y="2001312"/>
            <a:ext cx="866775" cy="657225"/>
            <a:chOff x="6650038" y="2078038"/>
            <a:chExt cx="866775" cy="657225"/>
          </a:xfrm>
        </p:grpSpPr>
        <p:grpSp>
          <p:nvGrpSpPr>
            <p:cNvPr id="22566" name="Group 38"/>
            <p:cNvGrpSpPr>
              <a:grpSpLocks/>
            </p:cNvGrpSpPr>
            <p:nvPr/>
          </p:nvGrpSpPr>
          <p:grpSpPr bwMode="auto">
            <a:xfrm>
              <a:off x="6748463" y="2078038"/>
              <a:ext cx="660400" cy="657225"/>
              <a:chOff x="0" y="0"/>
              <a:chExt cx="416" cy="414"/>
            </a:xfrm>
          </p:grpSpPr>
          <p:sp>
            <p:nvSpPr>
              <p:cNvPr id="22567" name="Oval 39"/>
              <p:cNvSpPr>
                <a:spLocks noChangeArrowheads="1"/>
              </p:cNvSpPr>
              <p:nvPr/>
            </p:nvSpPr>
            <p:spPr bwMode="auto">
              <a:xfrm>
                <a:off x="0" y="2"/>
                <a:ext cx="416" cy="412"/>
              </a:xfrm>
              <a:prstGeom prst="ellipse">
                <a:avLst/>
              </a:prstGeom>
              <a:solidFill>
                <a:schemeClr val="folHlink">
                  <a:alpha val="70000"/>
                </a:schemeClr>
              </a:solidFill>
              <a:ln w="28575" cap="flat" cmpd="sng">
                <a:solidFill>
                  <a:srgbClr val="F8F8F8">
                    <a:alpha val="65999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pic>
            <p:nvPicPr>
              <p:cNvPr id="22568" name="Picture 40" descr="cir_lighteffect0"/>
              <p:cNvPicPr>
                <a:picLocks noChangeAspect="1" noChangeArrowheads="1"/>
              </p:cNvPicPr>
              <p:nvPr/>
            </p:nvPicPr>
            <p:blipFill>
              <a:blip r:embed="rId2" cstate="print">
                <a:lum bright="18000" contrast="-12000"/>
              </a:blip>
              <a:srcRect/>
              <a:stretch>
                <a:fillRect/>
              </a:stretch>
            </p:blipFill>
            <p:spPr bwMode="auto">
              <a:xfrm>
                <a:off x="35" y="0"/>
                <a:ext cx="344" cy="344"/>
              </a:xfrm>
              <a:prstGeom prst="rect">
                <a:avLst/>
              </a:prstGeom>
              <a:noFill/>
              <a:ln w="9525" cap="flat" cmpd="sng">
                <a:noFill/>
                <a:miter lim="800000"/>
                <a:headEnd/>
                <a:tailEnd/>
              </a:ln>
              <a:effectLst/>
            </p:spPr>
          </p:pic>
        </p:grpSp>
        <p:sp>
          <p:nvSpPr>
            <p:cNvPr id="22569" name="Text Box 41"/>
            <p:cNvSpPr txBox="1">
              <a:spLocks noChangeArrowheads="1"/>
            </p:cNvSpPr>
            <p:nvPr/>
          </p:nvSpPr>
          <p:spPr bwMode="auto">
            <a:xfrm>
              <a:off x="6650038" y="2238375"/>
              <a:ext cx="866775" cy="336550"/>
            </a:xfrm>
            <a:prstGeom prst="rect">
              <a:avLst/>
            </a:prstGeom>
            <a:noFill/>
            <a:ln w="9525" cap="flat" cmpd="sng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1600" b="1" dirty="0">
                  <a:ea typeface="宋体" pitchFamily="2" charset="-122"/>
                  <a:cs typeface="Arial" pitchFamily="34" charset="0"/>
                </a:rPr>
                <a:t>3,000</a:t>
              </a:r>
            </a:p>
          </p:txBody>
        </p:sp>
      </p:grpSp>
      <p:sp>
        <p:nvSpPr>
          <p:cNvPr id="22570" name="未知"/>
          <p:cNvSpPr>
            <a:spLocks/>
          </p:cNvSpPr>
          <p:nvPr/>
        </p:nvSpPr>
        <p:spPr bwMode="auto">
          <a:xfrm rot="21230691">
            <a:off x="1789113" y="2060049"/>
            <a:ext cx="4384675" cy="1323975"/>
          </a:xfrm>
          <a:custGeom>
            <a:avLst/>
            <a:gdLst/>
            <a:ahLst/>
            <a:cxnLst>
              <a:cxn ang="0">
                <a:pos x="247" y="884"/>
              </a:cxn>
              <a:cxn ang="0">
                <a:pos x="451" y="708"/>
              </a:cxn>
              <a:cxn ang="0">
                <a:pos x="655" y="562"/>
              </a:cxn>
              <a:cxn ang="0">
                <a:pos x="856" y="439"/>
              </a:cxn>
              <a:cxn ang="0">
                <a:pos x="1053" y="342"/>
              </a:cxn>
              <a:cxn ang="0">
                <a:pos x="1242" y="264"/>
              </a:cxn>
              <a:cxn ang="0">
                <a:pos x="1419" y="204"/>
              </a:cxn>
              <a:cxn ang="0">
                <a:pos x="1586" y="160"/>
              </a:cxn>
              <a:cxn ang="0">
                <a:pos x="1737" y="131"/>
              </a:cxn>
              <a:cxn ang="0">
                <a:pos x="1871" y="112"/>
              </a:cxn>
              <a:cxn ang="0">
                <a:pos x="1988" y="103"/>
              </a:cxn>
              <a:cxn ang="0">
                <a:pos x="2082" y="99"/>
              </a:cxn>
              <a:cxn ang="0">
                <a:pos x="2152" y="99"/>
              </a:cxn>
              <a:cxn ang="0">
                <a:pos x="2195" y="102"/>
              </a:cxn>
              <a:cxn ang="0">
                <a:pos x="2210" y="102"/>
              </a:cxn>
              <a:cxn ang="0">
                <a:pos x="2706" y="330"/>
              </a:cxn>
              <a:cxn ang="0">
                <a:pos x="2336" y="358"/>
              </a:cxn>
              <a:cxn ang="0">
                <a:pos x="2326" y="354"/>
              </a:cxn>
              <a:cxn ang="0">
                <a:pos x="2293" y="345"/>
              </a:cxn>
              <a:cxn ang="0">
                <a:pos x="2241" y="330"/>
              </a:cxn>
              <a:cxn ang="0">
                <a:pos x="2168" y="317"/>
              </a:cxn>
              <a:cxn ang="0">
                <a:pos x="2075" y="306"/>
              </a:cxn>
              <a:cxn ang="0">
                <a:pos x="1966" y="298"/>
              </a:cxn>
              <a:cxn ang="0">
                <a:pos x="1838" y="298"/>
              </a:cxn>
              <a:cxn ang="0">
                <a:pos x="1692" y="309"/>
              </a:cxn>
              <a:cxn ang="0">
                <a:pos x="1533" y="330"/>
              </a:cxn>
              <a:cxn ang="0">
                <a:pos x="1354" y="371"/>
              </a:cxn>
              <a:cxn ang="0">
                <a:pos x="1164" y="428"/>
              </a:cxn>
              <a:cxn ang="0">
                <a:pos x="960" y="505"/>
              </a:cxn>
              <a:cxn ang="0">
                <a:pos x="742" y="608"/>
              </a:cxn>
              <a:cxn ang="0">
                <a:pos x="512" y="736"/>
              </a:cxn>
              <a:cxn ang="0">
                <a:pos x="271" y="892"/>
              </a:cxn>
            </a:cxnLst>
            <a:rect l="0" t="0" r="r" b="b"/>
            <a:pathLst>
              <a:path w="2706" h="1093">
                <a:moveTo>
                  <a:pt x="0" y="1093"/>
                </a:moveTo>
                <a:lnTo>
                  <a:pt x="247" y="884"/>
                </a:lnTo>
                <a:lnTo>
                  <a:pt x="350" y="793"/>
                </a:lnTo>
                <a:lnTo>
                  <a:pt x="451" y="708"/>
                </a:lnTo>
                <a:lnTo>
                  <a:pt x="553" y="631"/>
                </a:lnTo>
                <a:lnTo>
                  <a:pt x="655" y="562"/>
                </a:lnTo>
                <a:lnTo>
                  <a:pt x="756" y="497"/>
                </a:lnTo>
                <a:lnTo>
                  <a:pt x="856" y="439"/>
                </a:lnTo>
                <a:lnTo>
                  <a:pt x="955" y="388"/>
                </a:lnTo>
                <a:lnTo>
                  <a:pt x="1053" y="342"/>
                </a:lnTo>
                <a:lnTo>
                  <a:pt x="1148" y="300"/>
                </a:lnTo>
                <a:lnTo>
                  <a:pt x="1242" y="264"/>
                </a:lnTo>
                <a:lnTo>
                  <a:pt x="1331" y="232"/>
                </a:lnTo>
                <a:lnTo>
                  <a:pt x="1419" y="204"/>
                </a:lnTo>
                <a:lnTo>
                  <a:pt x="1504" y="182"/>
                </a:lnTo>
                <a:lnTo>
                  <a:pt x="1586" y="160"/>
                </a:lnTo>
                <a:lnTo>
                  <a:pt x="1664" y="144"/>
                </a:lnTo>
                <a:lnTo>
                  <a:pt x="1737" y="131"/>
                </a:lnTo>
                <a:lnTo>
                  <a:pt x="1807" y="121"/>
                </a:lnTo>
                <a:lnTo>
                  <a:pt x="1871" y="112"/>
                </a:lnTo>
                <a:lnTo>
                  <a:pt x="1932" y="107"/>
                </a:lnTo>
                <a:lnTo>
                  <a:pt x="1988" y="103"/>
                </a:lnTo>
                <a:lnTo>
                  <a:pt x="2038" y="100"/>
                </a:lnTo>
                <a:lnTo>
                  <a:pt x="2082" y="99"/>
                </a:lnTo>
                <a:lnTo>
                  <a:pt x="2121" y="100"/>
                </a:lnTo>
                <a:lnTo>
                  <a:pt x="2152" y="99"/>
                </a:lnTo>
                <a:lnTo>
                  <a:pt x="2178" y="101"/>
                </a:lnTo>
                <a:lnTo>
                  <a:pt x="2195" y="102"/>
                </a:lnTo>
                <a:lnTo>
                  <a:pt x="2206" y="102"/>
                </a:lnTo>
                <a:lnTo>
                  <a:pt x="2210" y="102"/>
                </a:lnTo>
                <a:lnTo>
                  <a:pt x="2146" y="0"/>
                </a:lnTo>
                <a:lnTo>
                  <a:pt x="2706" y="330"/>
                </a:lnTo>
                <a:lnTo>
                  <a:pt x="2270" y="473"/>
                </a:lnTo>
                <a:lnTo>
                  <a:pt x="2336" y="358"/>
                </a:lnTo>
                <a:lnTo>
                  <a:pt x="2335" y="357"/>
                </a:lnTo>
                <a:lnTo>
                  <a:pt x="2326" y="354"/>
                </a:lnTo>
                <a:lnTo>
                  <a:pt x="2313" y="350"/>
                </a:lnTo>
                <a:lnTo>
                  <a:pt x="2293" y="345"/>
                </a:lnTo>
                <a:lnTo>
                  <a:pt x="2270" y="337"/>
                </a:lnTo>
                <a:lnTo>
                  <a:pt x="2241" y="330"/>
                </a:lnTo>
                <a:lnTo>
                  <a:pt x="2207" y="323"/>
                </a:lnTo>
                <a:lnTo>
                  <a:pt x="2168" y="317"/>
                </a:lnTo>
                <a:lnTo>
                  <a:pt x="2124" y="311"/>
                </a:lnTo>
                <a:lnTo>
                  <a:pt x="2075" y="306"/>
                </a:lnTo>
                <a:lnTo>
                  <a:pt x="2024" y="301"/>
                </a:lnTo>
                <a:lnTo>
                  <a:pt x="1966" y="298"/>
                </a:lnTo>
                <a:lnTo>
                  <a:pt x="1905" y="295"/>
                </a:lnTo>
                <a:lnTo>
                  <a:pt x="1838" y="298"/>
                </a:lnTo>
                <a:lnTo>
                  <a:pt x="1767" y="301"/>
                </a:lnTo>
                <a:lnTo>
                  <a:pt x="1692" y="309"/>
                </a:lnTo>
                <a:lnTo>
                  <a:pt x="1613" y="317"/>
                </a:lnTo>
                <a:lnTo>
                  <a:pt x="1533" y="330"/>
                </a:lnTo>
                <a:lnTo>
                  <a:pt x="1445" y="349"/>
                </a:lnTo>
                <a:lnTo>
                  <a:pt x="1354" y="371"/>
                </a:lnTo>
                <a:lnTo>
                  <a:pt x="1262" y="397"/>
                </a:lnTo>
                <a:lnTo>
                  <a:pt x="1164" y="428"/>
                </a:lnTo>
                <a:lnTo>
                  <a:pt x="1065" y="464"/>
                </a:lnTo>
                <a:lnTo>
                  <a:pt x="960" y="505"/>
                </a:lnTo>
                <a:lnTo>
                  <a:pt x="853" y="553"/>
                </a:lnTo>
                <a:lnTo>
                  <a:pt x="742" y="608"/>
                </a:lnTo>
                <a:lnTo>
                  <a:pt x="629" y="669"/>
                </a:lnTo>
                <a:lnTo>
                  <a:pt x="512" y="736"/>
                </a:lnTo>
                <a:lnTo>
                  <a:pt x="393" y="809"/>
                </a:lnTo>
                <a:lnTo>
                  <a:pt x="271" y="892"/>
                </a:lnTo>
                <a:lnTo>
                  <a:pt x="0" y="1093"/>
                </a:lnTo>
                <a:close/>
              </a:path>
            </a:pathLst>
          </a:custGeom>
          <a:gradFill rotWithShape="1">
            <a:gsLst>
              <a:gs pos="0">
                <a:srgbClr val="C0C0C0"/>
              </a:gs>
              <a:gs pos="50000">
                <a:srgbClr val="C0C0C0">
                  <a:gamma/>
                  <a:tint val="0"/>
                  <a:invGamma/>
                </a:srgbClr>
              </a:gs>
              <a:gs pos="100000">
                <a:srgbClr val="C0C0C0"/>
              </a:gs>
            </a:gsLst>
            <a:lin ang="0" scaled="1"/>
          </a:gradFill>
          <a:ln w="9525" cap="flat" cmpd="sng">
            <a:noFill/>
            <a:round/>
            <a:headEnd/>
            <a:tailEnd/>
          </a:ln>
          <a:effectLst/>
          <a:scene3d>
            <a:camera prst="legacyObliqueFront">
              <a:rot lat="20099999" lon="600000" rev="0"/>
            </a:camera>
            <a:lightRig rig="legacyFlat3" dir="t"/>
          </a:scene3d>
          <a:sp3d extrusionH="100000" prstMaterial="legacyMatte">
            <a:bevelT w="13500" h="13500" prst="angle"/>
            <a:bevelB w="13500" h="13500" prst="angle"/>
            <a:extrusionClr>
              <a:srgbClr val="C0C0C0"/>
            </a:extrusionClr>
          </a:sp3d>
        </p:spPr>
        <p:txBody>
          <a:bodyPr>
            <a:flatTx/>
          </a:bodyPr>
          <a:lstStyle/>
          <a:p>
            <a:endParaRPr lang="zh-CN" altLang="en-US"/>
          </a:p>
        </p:txBody>
      </p:sp>
      <p:sp>
        <p:nvSpPr>
          <p:cNvPr id="22571" name="Text Box 43"/>
          <p:cNvSpPr txBox="1">
            <a:spLocks noChangeArrowheads="1"/>
          </p:cNvSpPr>
          <p:nvPr/>
        </p:nvSpPr>
        <p:spPr bwMode="auto">
          <a:xfrm>
            <a:off x="2240196" y="4774674"/>
            <a:ext cx="915987" cy="304800"/>
          </a:xfrm>
          <a:prstGeom prst="rect">
            <a:avLst/>
          </a:prstGeom>
          <a:noFill/>
          <a:ln w="9525" cap="flat" cmpd="sng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400" dirty="0">
                <a:solidFill>
                  <a:srgbClr val="FFFFFF"/>
                </a:solidFill>
                <a:ea typeface="宋体" pitchFamily="2" charset="-122"/>
              </a:rPr>
              <a:t>文本</a:t>
            </a:r>
          </a:p>
        </p:txBody>
      </p:sp>
      <p:sp>
        <p:nvSpPr>
          <p:cNvPr id="22572" name="Text Box 44"/>
          <p:cNvSpPr txBox="1">
            <a:spLocks noChangeArrowheads="1"/>
          </p:cNvSpPr>
          <p:nvPr/>
        </p:nvSpPr>
        <p:spPr bwMode="auto">
          <a:xfrm>
            <a:off x="1312863" y="4761974"/>
            <a:ext cx="915987" cy="304800"/>
          </a:xfrm>
          <a:prstGeom prst="rect">
            <a:avLst/>
          </a:prstGeom>
          <a:noFill/>
          <a:ln w="9525" cap="flat" cmpd="sng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400" dirty="0">
                <a:solidFill>
                  <a:srgbClr val="FFFFFF"/>
                </a:solidFill>
                <a:ea typeface="宋体" pitchFamily="2" charset="-122"/>
              </a:rPr>
              <a:t>文本</a:t>
            </a:r>
            <a:endParaRPr lang="zh-CN" altLang="en-US" dirty="0">
              <a:ea typeface="宋体" pitchFamily="2" charset="-122"/>
            </a:endParaRPr>
          </a:p>
        </p:txBody>
      </p:sp>
      <p:grpSp>
        <p:nvGrpSpPr>
          <p:cNvPr id="66" name="组合 65"/>
          <p:cNvGrpSpPr/>
          <p:nvPr/>
        </p:nvGrpSpPr>
        <p:grpSpPr>
          <a:xfrm>
            <a:off x="1428750" y="3734862"/>
            <a:ext cx="660400" cy="657225"/>
            <a:chOff x="1428750" y="3811588"/>
            <a:chExt cx="660400" cy="657225"/>
          </a:xfrm>
        </p:grpSpPr>
        <p:grpSp>
          <p:nvGrpSpPr>
            <p:cNvPr id="22547" name="Group 19"/>
            <p:cNvGrpSpPr>
              <a:grpSpLocks/>
            </p:cNvGrpSpPr>
            <p:nvPr/>
          </p:nvGrpSpPr>
          <p:grpSpPr bwMode="auto">
            <a:xfrm>
              <a:off x="1428750" y="3811588"/>
              <a:ext cx="660400" cy="657225"/>
              <a:chOff x="0" y="0"/>
              <a:chExt cx="416" cy="414"/>
            </a:xfrm>
          </p:grpSpPr>
          <p:sp>
            <p:nvSpPr>
              <p:cNvPr id="22548" name="Oval 20"/>
              <p:cNvSpPr>
                <a:spLocks noChangeArrowheads="1"/>
              </p:cNvSpPr>
              <p:nvPr/>
            </p:nvSpPr>
            <p:spPr bwMode="auto">
              <a:xfrm>
                <a:off x="0" y="2"/>
                <a:ext cx="416" cy="412"/>
              </a:xfrm>
              <a:prstGeom prst="ellipse">
                <a:avLst/>
              </a:prstGeom>
              <a:solidFill>
                <a:schemeClr val="accent1">
                  <a:alpha val="70000"/>
                </a:schemeClr>
              </a:solidFill>
              <a:ln w="28575" cap="flat" cmpd="sng">
                <a:solidFill>
                  <a:srgbClr val="F8F8F8">
                    <a:alpha val="65999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pic>
            <p:nvPicPr>
              <p:cNvPr id="22549" name="Picture 21" descr="cir_lighteffect0"/>
              <p:cNvPicPr>
                <a:picLocks noChangeAspect="1" noChangeArrowheads="1"/>
              </p:cNvPicPr>
              <p:nvPr/>
            </p:nvPicPr>
            <p:blipFill>
              <a:blip r:embed="rId2" cstate="print">
                <a:lum bright="18000" contrast="-12000"/>
              </a:blip>
              <a:srcRect/>
              <a:stretch>
                <a:fillRect/>
              </a:stretch>
            </p:blipFill>
            <p:spPr bwMode="auto">
              <a:xfrm>
                <a:off x="35" y="0"/>
                <a:ext cx="344" cy="344"/>
              </a:xfrm>
              <a:prstGeom prst="rect">
                <a:avLst/>
              </a:prstGeom>
              <a:noFill/>
              <a:ln w="9525" cap="flat" cmpd="sng">
                <a:noFill/>
                <a:miter lim="800000"/>
                <a:headEnd/>
                <a:tailEnd/>
              </a:ln>
              <a:effectLst/>
            </p:spPr>
          </p:pic>
        </p:grpSp>
        <p:sp>
          <p:nvSpPr>
            <p:cNvPr id="22573" name="Text Box 45"/>
            <p:cNvSpPr txBox="1">
              <a:spLocks noChangeArrowheads="1"/>
            </p:cNvSpPr>
            <p:nvPr/>
          </p:nvSpPr>
          <p:spPr bwMode="auto">
            <a:xfrm>
              <a:off x="1470025" y="3965575"/>
              <a:ext cx="582613" cy="366713"/>
            </a:xfrm>
            <a:prstGeom prst="rect">
              <a:avLst/>
            </a:prstGeom>
            <a:noFill/>
            <a:ln w="9525" cap="flat" cmpd="sng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b="1" dirty="0">
                  <a:ea typeface="宋体" pitchFamily="2" charset="-122"/>
                  <a:cs typeface="Arial" pitchFamily="34" charset="0"/>
                </a:rPr>
                <a:t>346</a:t>
              </a:r>
            </a:p>
          </p:txBody>
        </p:sp>
      </p:grpSp>
      <p:sp>
        <p:nvSpPr>
          <p:cNvPr id="22574" name="Text Box 46"/>
          <p:cNvSpPr txBox="1">
            <a:spLocks noChangeArrowheads="1"/>
          </p:cNvSpPr>
          <p:nvPr/>
        </p:nvSpPr>
        <p:spPr bwMode="auto">
          <a:xfrm>
            <a:off x="4424363" y="4774674"/>
            <a:ext cx="915987" cy="304800"/>
          </a:xfrm>
          <a:prstGeom prst="rect">
            <a:avLst/>
          </a:prstGeom>
          <a:noFill/>
          <a:ln w="9525" cap="flat" cmpd="sng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400" dirty="0">
                <a:solidFill>
                  <a:srgbClr val="FFFFFF"/>
                </a:solidFill>
                <a:ea typeface="宋体" pitchFamily="2" charset="-122"/>
              </a:rPr>
              <a:t>文本</a:t>
            </a:r>
          </a:p>
        </p:txBody>
      </p:sp>
      <p:sp>
        <p:nvSpPr>
          <p:cNvPr id="22575" name="Text Box 47"/>
          <p:cNvSpPr txBox="1">
            <a:spLocks noChangeArrowheads="1"/>
          </p:cNvSpPr>
          <p:nvPr/>
        </p:nvSpPr>
        <p:spPr bwMode="auto">
          <a:xfrm>
            <a:off x="3509963" y="4774674"/>
            <a:ext cx="915987" cy="304800"/>
          </a:xfrm>
          <a:prstGeom prst="rect">
            <a:avLst/>
          </a:prstGeom>
          <a:noFill/>
          <a:ln w="9525" cap="flat" cmpd="sng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400" dirty="0">
                <a:solidFill>
                  <a:srgbClr val="FFFFFF"/>
                </a:solidFill>
                <a:ea typeface="宋体" pitchFamily="2" charset="-122"/>
              </a:rPr>
              <a:t>文本</a:t>
            </a:r>
          </a:p>
        </p:txBody>
      </p:sp>
      <p:sp>
        <p:nvSpPr>
          <p:cNvPr id="22576" name="Text Box 48"/>
          <p:cNvSpPr txBox="1">
            <a:spLocks noChangeArrowheads="1"/>
          </p:cNvSpPr>
          <p:nvPr/>
        </p:nvSpPr>
        <p:spPr bwMode="auto">
          <a:xfrm>
            <a:off x="6635750" y="4774674"/>
            <a:ext cx="915988" cy="304800"/>
          </a:xfrm>
          <a:prstGeom prst="rect">
            <a:avLst/>
          </a:prstGeom>
          <a:noFill/>
          <a:ln w="9525" cap="flat" cmpd="sng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400" dirty="0">
                <a:solidFill>
                  <a:srgbClr val="FFFFFF"/>
                </a:solidFill>
                <a:ea typeface="宋体" pitchFamily="2" charset="-122"/>
              </a:rPr>
              <a:t>文本</a:t>
            </a:r>
          </a:p>
        </p:txBody>
      </p:sp>
      <p:sp>
        <p:nvSpPr>
          <p:cNvPr id="22577" name="Text Box 49"/>
          <p:cNvSpPr txBox="1">
            <a:spLocks noChangeArrowheads="1"/>
          </p:cNvSpPr>
          <p:nvPr/>
        </p:nvSpPr>
        <p:spPr bwMode="auto">
          <a:xfrm>
            <a:off x="5721350" y="4774674"/>
            <a:ext cx="915988" cy="304800"/>
          </a:xfrm>
          <a:prstGeom prst="rect">
            <a:avLst/>
          </a:prstGeom>
          <a:noFill/>
          <a:ln w="9525" cap="flat" cmpd="sng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400" dirty="0">
                <a:solidFill>
                  <a:srgbClr val="FFFFFF"/>
                </a:solidFill>
                <a:ea typeface="宋体" pitchFamily="2" charset="-122"/>
              </a:rPr>
              <a:t>文本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25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25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6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25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25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257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25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1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5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25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225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257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25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000"/>
                            </p:stCondLst>
                            <p:childTnLst>
                              <p:par>
                                <p:cTn id="44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6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500"/>
                            </p:stCondLst>
                            <p:childTnLst>
                              <p:par>
                                <p:cTn id="48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000"/>
                            </p:stCondLst>
                            <p:childTnLst>
                              <p:par>
                                <p:cTn id="5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225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225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2257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25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500"/>
                            </p:stCondLst>
                            <p:childTnLst>
                              <p:par>
                                <p:cTn id="59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1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6000"/>
                            </p:stCondLst>
                            <p:childTnLst>
                              <p:par>
                                <p:cTn id="63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6500"/>
                            </p:stCondLst>
                            <p:childTnLst>
                              <p:par>
                                <p:cTn id="67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225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225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2257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25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7000"/>
                            </p:stCondLst>
                            <p:childTnLst>
                              <p:par>
                                <p:cTn id="74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7500"/>
                            </p:stCondLst>
                            <p:childTnLst>
                              <p:par>
                                <p:cTn id="78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80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8000"/>
                            </p:stCondLst>
                            <p:childTnLst>
                              <p:par>
                                <p:cTn id="8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225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225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2257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225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8500"/>
                            </p:stCondLst>
                            <p:childTnLst>
                              <p:par>
                                <p:cTn id="89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91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9000"/>
                            </p:stCondLst>
                            <p:childTnLst>
                              <p:par>
                                <p:cTn id="93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225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225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225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225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0000"/>
                            </p:stCondLst>
                            <p:childTnLst>
                              <p:par>
                                <p:cTn id="100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225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225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225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225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1000"/>
                            </p:stCondLst>
                            <p:childTnLst>
                              <p:par>
                                <p:cTn id="107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225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225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225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225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12000"/>
                            </p:stCondLst>
                            <p:childTnLst>
                              <p:par>
                                <p:cTn id="11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225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500" fill="hold"/>
                                        <p:tgtEl>
                                          <p:spTgt spid="225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12500"/>
                            </p:stCondLst>
                            <p:childTnLst>
                              <p:par>
                                <p:cTn id="119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225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225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543" grpId="0"/>
      <p:bldP spid="22544" grpId="0"/>
      <p:bldP spid="22545" grpId="0"/>
      <p:bldP spid="22546" grpId="0"/>
      <p:bldP spid="22570" grpId="0" animBg="1"/>
      <p:bldP spid="22571" grpId="0"/>
      <p:bldP spid="22572" grpId="0"/>
      <p:bldP spid="22574" grpId="0"/>
      <p:bldP spid="22575" grpId="0"/>
      <p:bldP spid="22576" grpId="0"/>
      <p:bldP spid="22577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组合 41"/>
          <p:cNvGrpSpPr/>
          <p:nvPr/>
        </p:nvGrpSpPr>
        <p:grpSpPr>
          <a:xfrm>
            <a:off x="1035050" y="2892425"/>
            <a:ext cx="1995488" cy="1500188"/>
            <a:chOff x="1035050" y="2968625"/>
            <a:chExt cx="1995488" cy="1500188"/>
          </a:xfrm>
        </p:grpSpPr>
        <p:grpSp>
          <p:nvGrpSpPr>
            <p:cNvPr id="23554" name="Group 2"/>
            <p:cNvGrpSpPr>
              <a:grpSpLocks/>
            </p:cNvGrpSpPr>
            <p:nvPr/>
          </p:nvGrpSpPr>
          <p:grpSpPr bwMode="auto">
            <a:xfrm>
              <a:off x="1035050" y="3482975"/>
              <a:ext cx="1995488" cy="985838"/>
              <a:chOff x="0" y="0"/>
              <a:chExt cx="1257" cy="621"/>
            </a:xfrm>
          </p:grpSpPr>
          <p:sp>
            <p:nvSpPr>
              <p:cNvPr id="23555" name="AutoShape 3"/>
              <p:cNvSpPr>
                <a:spLocks noChangeArrowheads="1"/>
              </p:cNvSpPr>
              <p:nvPr/>
            </p:nvSpPr>
            <p:spPr bwMode="auto">
              <a:xfrm>
                <a:off x="0" y="192"/>
                <a:ext cx="1257" cy="429"/>
              </a:xfrm>
              <a:prstGeom prst="can">
                <a:avLst>
                  <a:gd name="adj" fmla="val 50000"/>
                </a:avLst>
              </a:prstGeom>
              <a:gradFill rotWithShape="1">
                <a:gsLst>
                  <a:gs pos="0">
                    <a:srgbClr val="777777">
                      <a:alpha val="59999"/>
                    </a:srgbClr>
                  </a:gs>
                  <a:gs pos="100000">
                    <a:srgbClr val="4D4D4D"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ea typeface="宋体" pitchFamily="2" charset="-122"/>
                </a:endParaRPr>
              </a:p>
            </p:txBody>
          </p:sp>
          <p:sp>
            <p:nvSpPr>
              <p:cNvPr id="23556" name="AutoShape 4"/>
              <p:cNvSpPr>
                <a:spLocks noChangeArrowheads="1"/>
              </p:cNvSpPr>
              <p:nvPr/>
            </p:nvSpPr>
            <p:spPr bwMode="auto">
              <a:xfrm>
                <a:off x="0" y="0"/>
                <a:ext cx="1257" cy="429"/>
              </a:xfrm>
              <a:prstGeom prst="can">
                <a:avLst>
                  <a:gd name="adj" fmla="val 50000"/>
                </a:avLst>
              </a:prstGeom>
              <a:gradFill rotWithShape="1">
                <a:gsLst>
                  <a:gs pos="0">
                    <a:srgbClr val="4D4D4D"/>
                  </a:gs>
                  <a:gs pos="100000">
                    <a:srgbClr val="777777"/>
                  </a:gs>
                </a:gsLst>
                <a:lin ang="18900000" scaled="1"/>
              </a:gradFill>
              <a:ln w="15875" cap="flat" cmpd="sng">
                <a:solidFill>
                  <a:srgbClr val="EAEAEA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ea typeface="宋体" pitchFamily="2" charset="-122"/>
                </a:endParaRPr>
              </a:p>
            </p:txBody>
          </p:sp>
        </p:grpSp>
        <p:sp>
          <p:nvSpPr>
            <p:cNvPr id="23557" name="AutoShape 6"/>
            <p:cNvSpPr>
              <a:spLocks noChangeArrowheads="1"/>
            </p:cNvSpPr>
            <p:nvPr/>
          </p:nvSpPr>
          <p:spPr bwMode="auto">
            <a:xfrm>
              <a:off x="1035050" y="2968625"/>
              <a:ext cx="1995488" cy="681038"/>
            </a:xfrm>
            <a:prstGeom prst="can">
              <a:avLst>
                <a:gd name="adj" fmla="val 50000"/>
              </a:avLst>
            </a:prstGeom>
            <a:gradFill rotWithShape="1">
              <a:gsLst>
                <a:gs pos="0">
                  <a:srgbClr val="4D4D4D">
                    <a:alpha val="59999"/>
                  </a:srgbClr>
                </a:gs>
                <a:gs pos="100000">
                  <a:srgbClr val="C0C0C0"/>
                </a:gs>
              </a:gsLst>
              <a:lin ang="18900000" scaled="1"/>
            </a:gradFill>
            <a:ln w="15875" cap="flat" cmpd="sng">
              <a:solidFill>
                <a:srgbClr val="EAEAEA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</p:grpSp>
      <p:grpSp>
        <p:nvGrpSpPr>
          <p:cNvPr id="23558" name="Group 6"/>
          <p:cNvGrpSpPr>
            <a:grpSpLocks/>
          </p:cNvGrpSpPr>
          <p:nvPr/>
        </p:nvGrpSpPr>
        <p:grpSpPr bwMode="auto">
          <a:xfrm>
            <a:off x="1755775" y="2244725"/>
            <a:ext cx="558800" cy="1493838"/>
            <a:chOff x="0" y="0"/>
            <a:chExt cx="282" cy="753"/>
          </a:xfrm>
        </p:grpSpPr>
        <p:sp>
          <p:nvSpPr>
            <p:cNvPr id="23559" name="WordArt 8"/>
            <p:cNvSpPr>
              <a:spLocks noChangeArrowheads="1" noChangeShapeType="1" noTextEdit="1"/>
            </p:cNvSpPr>
            <p:nvPr/>
          </p:nvSpPr>
          <p:spPr bwMode="auto">
            <a:xfrm>
              <a:off x="0" y="0"/>
              <a:ext cx="282" cy="372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l"/>
              <a:r>
                <a:rPr lang="en-US" altLang="zh-CN" sz="2400" b="1" dirty="0">
                  <a:ln w="9525" cap="flat" cmpd="sng">
                    <a:solidFill>
                      <a:srgbClr val="808080"/>
                    </a:solidFill>
                    <a:round/>
                    <a:headEnd/>
                    <a:tailEnd/>
                  </a:ln>
                  <a:gradFill rotWithShape="1">
                    <a:gsLst>
                      <a:gs pos="0">
                        <a:srgbClr val="EAEAEA"/>
                      </a:gs>
                      <a:gs pos="100000">
                        <a:srgbClr val="B2B2B2"/>
                      </a:gs>
                    </a:gsLst>
                    <a:lin ang="5400000" scaled="1"/>
                  </a:gradFill>
                  <a:latin typeface="Arial"/>
                  <a:cs typeface="Arial"/>
                </a:rPr>
                <a:t>2</a:t>
              </a:r>
              <a:endParaRPr lang="zh-CN" altLang="en-US" sz="2400" b="1" dirty="0">
                <a:ln w="9525" cap="flat" cmpd="sng">
                  <a:solidFill>
                    <a:srgbClr val="808080"/>
                  </a:solidFill>
                  <a:round/>
                  <a:headEnd/>
                  <a:tailEnd/>
                </a:ln>
                <a:gradFill rotWithShape="1">
                  <a:gsLst>
                    <a:gs pos="0">
                      <a:srgbClr val="EAEAEA"/>
                    </a:gs>
                    <a:gs pos="100000">
                      <a:srgbClr val="B2B2B2"/>
                    </a:gs>
                  </a:gsLst>
                  <a:lin ang="5400000" scaled="1"/>
                </a:gradFill>
                <a:latin typeface="Arial"/>
                <a:cs typeface="Arial"/>
              </a:endParaRPr>
            </a:p>
          </p:txBody>
        </p:sp>
        <p:sp>
          <p:nvSpPr>
            <p:cNvPr id="23560" name="WordArt 9"/>
            <p:cNvSpPr>
              <a:spLocks noChangeArrowheads="1" noChangeShapeType="1" noTextEdit="1"/>
            </p:cNvSpPr>
            <p:nvPr/>
          </p:nvSpPr>
          <p:spPr bwMode="auto">
            <a:xfrm flipV="1">
              <a:off x="0" y="381"/>
              <a:ext cx="282" cy="372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l"/>
              <a:r>
                <a:rPr lang="en-US" altLang="zh-CN" sz="2400" b="1" dirty="0">
                  <a:ln w="9525">
                    <a:noFill/>
                    <a:round/>
                    <a:headEnd/>
                    <a:tailEnd/>
                  </a:ln>
                  <a:gradFill rotWithShape="1">
                    <a:gsLst>
                      <a:gs pos="0">
                        <a:srgbClr val="B2B2B2">
                          <a:alpha val="0"/>
                        </a:srgbClr>
                      </a:gs>
                      <a:gs pos="100000">
                        <a:srgbClr val="EAEAEA">
                          <a:alpha val="20000"/>
                        </a:srgbClr>
                      </a:gs>
                    </a:gsLst>
                    <a:lin ang="5400000" scaled="1"/>
                  </a:gradFill>
                  <a:latin typeface="Arial"/>
                  <a:cs typeface="Arial"/>
                </a:rPr>
                <a:t>2</a:t>
              </a:r>
              <a:endParaRPr lang="zh-CN" altLang="en-US" sz="2400" b="1" dirty="0">
                <a:ln w="9525">
                  <a:noFill/>
                  <a:round/>
                  <a:headEnd/>
                  <a:tailEnd/>
                </a:ln>
                <a:gradFill rotWithShape="1">
                  <a:gsLst>
                    <a:gs pos="0">
                      <a:srgbClr val="B2B2B2">
                        <a:alpha val="0"/>
                      </a:srgbClr>
                    </a:gs>
                    <a:gs pos="100000">
                      <a:srgbClr val="EAEAEA">
                        <a:alpha val="20000"/>
                      </a:srgbClr>
                    </a:gs>
                  </a:gsLst>
                  <a:lin ang="5400000" scaled="1"/>
                </a:gradFill>
                <a:latin typeface="Arial"/>
                <a:cs typeface="Arial"/>
              </a:endParaRPr>
            </a:p>
          </p:txBody>
        </p:sp>
      </p:grpSp>
      <p:grpSp>
        <p:nvGrpSpPr>
          <p:cNvPr id="43" name="组合 42"/>
          <p:cNvGrpSpPr/>
          <p:nvPr/>
        </p:nvGrpSpPr>
        <p:grpSpPr>
          <a:xfrm>
            <a:off x="3581400" y="2381250"/>
            <a:ext cx="1995488" cy="2097088"/>
            <a:chOff x="3581400" y="2457450"/>
            <a:chExt cx="1995488" cy="2097088"/>
          </a:xfrm>
        </p:grpSpPr>
        <p:grpSp>
          <p:nvGrpSpPr>
            <p:cNvPr id="23561" name="Group 9"/>
            <p:cNvGrpSpPr>
              <a:grpSpLocks/>
            </p:cNvGrpSpPr>
            <p:nvPr/>
          </p:nvGrpSpPr>
          <p:grpSpPr bwMode="auto">
            <a:xfrm>
              <a:off x="3581400" y="3482975"/>
              <a:ext cx="1995488" cy="1071563"/>
              <a:chOff x="0" y="0"/>
              <a:chExt cx="1257" cy="675"/>
            </a:xfrm>
          </p:grpSpPr>
          <p:sp>
            <p:nvSpPr>
              <p:cNvPr id="23562" name="AutoShape 11"/>
              <p:cNvSpPr>
                <a:spLocks noChangeArrowheads="1"/>
              </p:cNvSpPr>
              <p:nvPr/>
            </p:nvSpPr>
            <p:spPr bwMode="auto">
              <a:xfrm>
                <a:off x="0" y="246"/>
                <a:ext cx="1257" cy="429"/>
              </a:xfrm>
              <a:prstGeom prst="can">
                <a:avLst>
                  <a:gd name="adj" fmla="val 50000"/>
                </a:avLst>
              </a:prstGeom>
              <a:gradFill rotWithShape="1">
                <a:gsLst>
                  <a:gs pos="0">
                    <a:schemeClr val="accent2">
                      <a:alpha val="59999"/>
                    </a:schemeClr>
                  </a:gs>
                  <a:gs pos="100000">
                    <a:srgbClr val="4D4D4D"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ea typeface="宋体" pitchFamily="2" charset="-122"/>
                </a:endParaRPr>
              </a:p>
            </p:txBody>
          </p:sp>
          <p:sp>
            <p:nvSpPr>
              <p:cNvPr id="23563" name="AutoShape 12"/>
              <p:cNvSpPr>
                <a:spLocks noChangeArrowheads="1"/>
              </p:cNvSpPr>
              <p:nvPr/>
            </p:nvSpPr>
            <p:spPr bwMode="auto">
              <a:xfrm>
                <a:off x="0" y="0"/>
                <a:ext cx="1257" cy="429"/>
              </a:xfrm>
              <a:prstGeom prst="can">
                <a:avLst>
                  <a:gd name="adj" fmla="val 50000"/>
                </a:avLst>
              </a:prstGeom>
              <a:gradFill rotWithShape="1">
                <a:gsLst>
                  <a:gs pos="0">
                    <a:schemeClr val="accent2"/>
                  </a:gs>
                  <a:gs pos="100000">
                    <a:srgbClr val="2D445C"/>
                  </a:gs>
                </a:gsLst>
                <a:lin ang="18900000" scaled="1"/>
              </a:gradFill>
              <a:ln w="15875" cap="flat" cmpd="sng">
                <a:solidFill>
                  <a:srgbClr val="EAEAEA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ea typeface="宋体" pitchFamily="2" charset="-122"/>
                </a:endParaRPr>
              </a:p>
            </p:txBody>
          </p:sp>
        </p:grpSp>
        <p:sp>
          <p:nvSpPr>
            <p:cNvPr id="23564" name="AutoShape 13"/>
            <p:cNvSpPr>
              <a:spLocks noChangeArrowheads="1"/>
            </p:cNvSpPr>
            <p:nvPr/>
          </p:nvSpPr>
          <p:spPr bwMode="auto">
            <a:xfrm>
              <a:off x="3581400" y="2968625"/>
              <a:ext cx="1995488" cy="681038"/>
            </a:xfrm>
            <a:prstGeom prst="can">
              <a:avLst>
                <a:gd name="adj" fmla="val 50000"/>
              </a:avLst>
            </a:prstGeom>
            <a:gradFill rotWithShape="1">
              <a:gsLst>
                <a:gs pos="0">
                  <a:schemeClr val="accent2">
                    <a:alpha val="50000"/>
                  </a:schemeClr>
                </a:gs>
                <a:gs pos="100000">
                  <a:srgbClr val="2D445C"/>
                </a:gs>
              </a:gsLst>
              <a:lin ang="18900000" scaled="1"/>
            </a:gradFill>
            <a:ln w="15875" cap="flat" cmpd="sng">
              <a:solidFill>
                <a:srgbClr val="EAEAEA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23565" name="AutoShape 14"/>
            <p:cNvSpPr>
              <a:spLocks noChangeArrowheads="1"/>
            </p:cNvSpPr>
            <p:nvPr/>
          </p:nvSpPr>
          <p:spPr bwMode="auto">
            <a:xfrm>
              <a:off x="3581400" y="2457450"/>
              <a:ext cx="1995488" cy="681038"/>
            </a:xfrm>
            <a:prstGeom prst="can">
              <a:avLst>
                <a:gd name="adj" fmla="val 50000"/>
              </a:avLst>
            </a:prstGeom>
            <a:gradFill rotWithShape="1">
              <a:gsLst>
                <a:gs pos="0">
                  <a:schemeClr val="accent2">
                    <a:alpha val="20000"/>
                  </a:schemeClr>
                </a:gs>
                <a:gs pos="100000">
                  <a:schemeClr val="accent1"/>
                </a:gs>
              </a:gsLst>
              <a:lin ang="18900000" scaled="1"/>
            </a:gradFill>
            <a:ln w="15875" cap="flat" cmpd="sng">
              <a:solidFill>
                <a:srgbClr val="EAEAEA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</p:grpSp>
      <p:grpSp>
        <p:nvGrpSpPr>
          <p:cNvPr id="23566" name="Group 14"/>
          <p:cNvGrpSpPr>
            <a:grpSpLocks/>
          </p:cNvGrpSpPr>
          <p:nvPr/>
        </p:nvGrpSpPr>
        <p:grpSpPr bwMode="auto">
          <a:xfrm>
            <a:off x="4243388" y="1752600"/>
            <a:ext cx="558800" cy="1493838"/>
            <a:chOff x="0" y="0"/>
            <a:chExt cx="282" cy="753"/>
          </a:xfrm>
        </p:grpSpPr>
        <p:sp>
          <p:nvSpPr>
            <p:cNvPr id="23567" name="WordArt 16"/>
            <p:cNvSpPr>
              <a:spLocks noChangeArrowheads="1" noChangeShapeType="1" noTextEdit="1"/>
            </p:cNvSpPr>
            <p:nvPr/>
          </p:nvSpPr>
          <p:spPr bwMode="auto">
            <a:xfrm>
              <a:off x="0" y="0"/>
              <a:ext cx="282" cy="372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l"/>
              <a:r>
                <a:rPr lang="en-US" altLang="zh-CN" sz="2400" b="1" dirty="0">
                  <a:ln w="9525" cap="flat" cmpd="sng">
                    <a:solidFill>
                      <a:srgbClr val="808080"/>
                    </a:solidFill>
                    <a:round/>
                    <a:headEnd/>
                    <a:tailEnd/>
                  </a:ln>
                  <a:gradFill rotWithShape="1">
                    <a:gsLst>
                      <a:gs pos="0">
                        <a:srgbClr val="EAEAEA"/>
                      </a:gs>
                      <a:gs pos="100000">
                        <a:srgbClr val="B2B2B2"/>
                      </a:gs>
                    </a:gsLst>
                    <a:lin ang="5400000" scaled="1"/>
                  </a:gradFill>
                  <a:latin typeface="Arial"/>
                  <a:cs typeface="Arial"/>
                </a:rPr>
                <a:t>1</a:t>
              </a:r>
              <a:endParaRPr lang="zh-CN" altLang="en-US" sz="2400" b="1" dirty="0">
                <a:ln w="9525" cap="flat" cmpd="sng">
                  <a:solidFill>
                    <a:srgbClr val="808080"/>
                  </a:solidFill>
                  <a:round/>
                  <a:headEnd/>
                  <a:tailEnd/>
                </a:ln>
                <a:gradFill rotWithShape="1">
                  <a:gsLst>
                    <a:gs pos="0">
                      <a:srgbClr val="EAEAEA"/>
                    </a:gs>
                    <a:gs pos="100000">
                      <a:srgbClr val="B2B2B2"/>
                    </a:gs>
                  </a:gsLst>
                  <a:lin ang="5400000" scaled="1"/>
                </a:gradFill>
                <a:latin typeface="Arial"/>
                <a:cs typeface="Arial"/>
              </a:endParaRPr>
            </a:p>
          </p:txBody>
        </p:sp>
        <p:sp>
          <p:nvSpPr>
            <p:cNvPr id="23568" name="WordArt 17"/>
            <p:cNvSpPr>
              <a:spLocks noChangeArrowheads="1" noChangeShapeType="1" noTextEdit="1"/>
            </p:cNvSpPr>
            <p:nvPr/>
          </p:nvSpPr>
          <p:spPr bwMode="auto">
            <a:xfrm flipV="1">
              <a:off x="0" y="381"/>
              <a:ext cx="282" cy="372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l"/>
              <a:r>
                <a:rPr lang="en-US" altLang="zh-CN" sz="2400" b="1" dirty="0">
                  <a:ln w="9525">
                    <a:noFill/>
                    <a:round/>
                    <a:headEnd/>
                    <a:tailEnd/>
                  </a:ln>
                  <a:gradFill rotWithShape="1">
                    <a:gsLst>
                      <a:gs pos="0">
                        <a:srgbClr val="B2B2B2">
                          <a:alpha val="0"/>
                        </a:srgbClr>
                      </a:gs>
                      <a:gs pos="100000">
                        <a:srgbClr val="EAEAEA">
                          <a:alpha val="20000"/>
                        </a:srgbClr>
                      </a:gs>
                    </a:gsLst>
                    <a:lin ang="5400000" scaled="1"/>
                  </a:gradFill>
                  <a:latin typeface="Arial"/>
                  <a:cs typeface="Arial"/>
                </a:rPr>
                <a:t>1</a:t>
              </a:r>
              <a:endParaRPr lang="zh-CN" altLang="en-US" sz="2400" b="1" dirty="0">
                <a:ln w="9525">
                  <a:noFill/>
                  <a:round/>
                  <a:headEnd/>
                  <a:tailEnd/>
                </a:ln>
                <a:gradFill rotWithShape="1">
                  <a:gsLst>
                    <a:gs pos="0">
                      <a:srgbClr val="B2B2B2">
                        <a:alpha val="0"/>
                      </a:srgbClr>
                    </a:gs>
                    <a:gs pos="100000">
                      <a:srgbClr val="EAEAEA">
                        <a:alpha val="20000"/>
                      </a:srgbClr>
                    </a:gs>
                  </a:gsLst>
                  <a:lin ang="5400000" scaled="1"/>
                </a:gradFill>
                <a:latin typeface="Arial"/>
                <a:cs typeface="Arial"/>
              </a:endParaRPr>
            </a:p>
          </p:txBody>
        </p:sp>
      </p:grpSp>
      <p:grpSp>
        <p:nvGrpSpPr>
          <p:cNvPr id="23569" name="Group 17"/>
          <p:cNvGrpSpPr>
            <a:grpSpLocks/>
          </p:cNvGrpSpPr>
          <p:nvPr/>
        </p:nvGrpSpPr>
        <p:grpSpPr bwMode="auto">
          <a:xfrm>
            <a:off x="6199188" y="3406775"/>
            <a:ext cx="1998662" cy="985838"/>
            <a:chOff x="0" y="0"/>
            <a:chExt cx="1259" cy="621"/>
          </a:xfrm>
        </p:grpSpPr>
        <p:sp>
          <p:nvSpPr>
            <p:cNvPr id="23570" name="AutoShape 19"/>
            <p:cNvSpPr>
              <a:spLocks noChangeArrowheads="1"/>
            </p:cNvSpPr>
            <p:nvPr/>
          </p:nvSpPr>
          <p:spPr bwMode="auto">
            <a:xfrm>
              <a:off x="2" y="192"/>
              <a:ext cx="1257" cy="429"/>
            </a:xfrm>
            <a:prstGeom prst="can">
              <a:avLst>
                <a:gd name="adj" fmla="val 50000"/>
              </a:avLst>
            </a:prstGeom>
            <a:gradFill rotWithShape="1">
              <a:gsLst>
                <a:gs pos="0">
                  <a:srgbClr val="777777">
                    <a:alpha val="59999"/>
                  </a:srgbClr>
                </a:gs>
                <a:gs pos="100000">
                  <a:srgbClr val="4D4D4D">
                    <a:alpha val="0"/>
                  </a:srgbClr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23571" name="AutoShape 20"/>
            <p:cNvSpPr>
              <a:spLocks noChangeArrowheads="1"/>
            </p:cNvSpPr>
            <p:nvPr/>
          </p:nvSpPr>
          <p:spPr bwMode="auto">
            <a:xfrm>
              <a:off x="0" y="0"/>
              <a:ext cx="1257" cy="429"/>
            </a:xfrm>
            <a:prstGeom prst="can">
              <a:avLst>
                <a:gd name="adj" fmla="val 50000"/>
              </a:avLst>
            </a:prstGeom>
            <a:gradFill rotWithShape="1">
              <a:gsLst>
                <a:gs pos="0">
                  <a:srgbClr val="4D4D4D"/>
                </a:gs>
                <a:gs pos="100000">
                  <a:srgbClr val="777777"/>
                </a:gs>
              </a:gsLst>
              <a:lin ang="18900000" scaled="1"/>
            </a:gradFill>
            <a:ln w="15875" cap="flat" cmpd="sng">
              <a:solidFill>
                <a:srgbClr val="EAEAEA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</p:grpSp>
      <p:grpSp>
        <p:nvGrpSpPr>
          <p:cNvPr id="23572" name="Group 20"/>
          <p:cNvGrpSpPr>
            <a:grpSpLocks/>
          </p:cNvGrpSpPr>
          <p:nvPr/>
        </p:nvGrpSpPr>
        <p:grpSpPr bwMode="auto">
          <a:xfrm>
            <a:off x="6911975" y="2747963"/>
            <a:ext cx="558800" cy="1493837"/>
            <a:chOff x="0" y="0"/>
            <a:chExt cx="282" cy="753"/>
          </a:xfrm>
        </p:grpSpPr>
        <p:sp>
          <p:nvSpPr>
            <p:cNvPr id="23573" name="WordArt 22"/>
            <p:cNvSpPr>
              <a:spLocks noChangeArrowheads="1" noChangeShapeType="1" noTextEdit="1"/>
            </p:cNvSpPr>
            <p:nvPr/>
          </p:nvSpPr>
          <p:spPr bwMode="auto">
            <a:xfrm>
              <a:off x="0" y="0"/>
              <a:ext cx="282" cy="372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l"/>
              <a:r>
                <a:rPr lang="en-US" altLang="zh-CN" sz="2400" b="1" dirty="0">
                  <a:ln w="9525" cap="flat" cmpd="sng">
                    <a:solidFill>
                      <a:srgbClr val="808080"/>
                    </a:solidFill>
                    <a:round/>
                    <a:headEnd/>
                    <a:tailEnd/>
                  </a:ln>
                  <a:gradFill rotWithShape="1">
                    <a:gsLst>
                      <a:gs pos="0">
                        <a:srgbClr val="EAEAEA"/>
                      </a:gs>
                      <a:gs pos="100000">
                        <a:srgbClr val="B2B2B2"/>
                      </a:gs>
                    </a:gsLst>
                    <a:lin ang="5400000" scaled="1"/>
                  </a:gradFill>
                  <a:latin typeface="Arial"/>
                  <a:cs typeface="Arial"/>
                </a:rPr>
                <a:t>3</a:t>
              </a:r>
              <a:endParaRPr lang="zh-CN" altLang="en-US" sz="2400" b="1" dirty="0">
                <a:ln w="9525" cap="flat" cmpd="sng">
                  <a:solidFill>
                    <a:srgbClr val="808080"/>
                  </a:solidFill>
                  <a:round/>
                  <a:headEnd/>
                  <a:tailEnd/>
                </a:ln>
                <a:gradFill rotWithShape="1">
                  <a:gsLst>
                    <a:gs pos="0">
                      <a:srgbClr val="EAEAEA"/>
                    </a:gs>
                    <a:gs pos="100000">
                      <a:srgbClr val="B2B2B2"/>
                    </a:gs>
                  </a:gsLst>
                  <a:lin ang="5400000" scaled="1"/>
                </a:gradFill>
                <a:latin typeface="Arial"/>
                <a:cs typeface="Arial"/>
              </a:endParaRPr>
            </a:p>
          </p:txBody>
        </p:sp>
        <p:sp>
          <p:nvSpPr>
            <p:cNvPr id="23574" name="WordArt 23"/>
            <p:cNvSpPr>
              <a:spLocks noChangeArrowheads="1" noChangeShapeType="1" noTextEdit="1"/>
            </p:cNvSpPr>
            <p:nvPr/>
          </p:nvSpPr>
          <p:spPr bwMode="auto">
            <a:xfrm flipV="1">
              <a:off x="0" y="381"/>
              <a:ext cx="282" cy="372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l"/>
              <a:r>
                <a:rPr lang="en-US" altLang="zh-CN" sz="2400" b="1">
                  <a:ln w="9525">
                    <a:noFill/>
                    <a:round/>
                    <a:headEnd/>
                    <a:tailEnd/>
                  </a:ln>
                  <a:gradFill rotWithShape="1">
                    <a:gsLst>
                      <a:gs pos="0">
                        <a:srgbClr val="B2B2B2">
                          <a:alpha val="0"/>
                        </a:srgbClr>
                      </a:gs>
                      <a:gs pos="100000">
                        <a:srgbClr val="EAEAEA">
                          <a:alpha val="20000"/>
                        </a:srgbClr>
                      </a:gs>
                    </a:gsLst>
                    <a:lin ang="5400000" scaled="1"/>
                  </a:gradFill>
                  <a:latin typeface="Arial"/>
                  <a:cs typeface="Arial"/>
                </a:rPr>
                <a:t>3</a:t>
              </a:r>
              <a:endParaRPr lang="zh-CN" altLang="en-US" sz="2400" b="1">
                <a:ln w="9525">
                  <a:noFill/>
                  <a:round/>
                  <a:headEnd/>
                  <a:tailEnd/>
                </a:ln>
                <a:gradFill rotWithShape="1">
                  <a:gsLst>
                    <a:gs pos="0">
                      <a:srgbClr val="B2B2B2">
                        <a:alpha val="0"/>
                      </a:srgbClr>
                    </a:gs>
                    <a:gs pos="100000">
                      <a:srgbClr val="EAEAEA">
                        <a:alpha val="20000"/>
                      </a:srgbClr>
                    </a:gs>
                  </a:gsLst>
                  <a:lin ang="5400000" scaled="1"/>
                </a:gradFill>
                <a:latin typeface="Arial"/>
                <a:cs typeface="Arial"/>
              </a:endParaRPr>
            </a:p>
          </p:txBody>
        </p:sp>
      </p:grpSp>
      <p:sp>
        <p:nvSpPr>
          <p:cNvPr id="23575" name="Line 24"/>
          <p:cNvSpPr>
            <a:spLocks noChangeShapeType="1"/>
          </p:cNvSpPr>
          <p:nvPr/>
        </p:nvSpPr>
        <p:spPr bwMode="auto">
          <a:xfrm>
            <a:off x="3209925" y="3930650"/>
            <a:ext cx="0" cy="915988"/>
          </a:xfrm>
          <a:prstGeom prst="line">
            <a:avLst/>
          </a:prstGeom>
          <a:noFill/>
          <a:ln w="3175" cap="flat" cmpd="sng">
            <a:solidFill>
              <a:srgbClr val="969696"/>
            </a:solidFill>
            <a:prstDash val="dash"/>
            <a:round/>
            <a:headEnd/>
            <a:tailEnd/>
          </a:ln>
          <a:effectLst/>
        </p:spPr>
        <p:txBody>
          <a:bodyPr/>
          <a:lstStyle/>
          <a:p>
            <a:endParaRPr lang="zh-CN" altLang="en-US"/>
          </a:p>
        </p:txBody>
      </p:sp>
      <p:sp>
        <p:nvSpPr>
          <p:cNvPr id="23576" name="Text Box 25"/>
          <p:cNvSpPr txBox="1">
            <a:spLocks noChangeArrowheads="1"/>
          </p:cNvSpPr>
          <p:nvPr/>
        </p:nvSpPr>
        <p:spPr bwMode="auto">
          <a:xfrm>
            <a:off x="6143625" y="4295775"/>
            <a:ext cx="2192338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dirty="0">
                <a:solidFill>
                  <a:schemeClr val="tx2"/>
                </a:solidFill>
                <a:ea typeface="宋体" pitchFamily="2" charset="-122"/>
              </a:rPr>
              <a:t>此处添加内容</a:t>
            </a:r>
          </a:p>
        </p:txBody>
      </p:sp>
      <p:sp>
        <p:nvSpPr>
          <p:cNvPr id="23577" name="Text Box 26"/>
          <p:cNvSpPr txBox="1">
            <a:spLocks noChangeArrowheads="1"/>
          </p:cNvSpPr>
          <p:nvPr/>
        </p:nvSpPr>
        <p:spPr bwMode="auto">
          <a:xfrm>
            <a:off x="960438" y="4295775"/>
            <a:ext cx="20748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dirty="0">
                <a:solidFill>
                  <a:schemeClr val="tx2"/>
                </a:solidFill>
                <a:ea typeface="宋体" pitchFamily="2" charset="-122"/>
              </a:rPr>
              <a:t>此处添加内容</a:t>
            </a:r>
          </a:p>
        </p:txBody>
      </p:sp>
      <p:sp>
        <p:nvSpPr>
          <p:cNvPr id="23578" name="Text Box 27"/>
          <p:cNvSpPr txBox="1">
            <a:spLocks noChangeArrowheads="1"/>
          </p:cNvSpPr>
          <p:nvPr/>
        </p:nvSpPr>
        <p:spPr bwMode="auto">
          <a:xfrm>
            <a:off x="3571875" y="4295775"/>
            <a:ext cx="20161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dirty="0">
                <a:solidFill>
                  <a:schemeClr val="tx2"/>
                </a:solidFill>
                <a:ea typeface="宋体" pitchFamily="2" charset="-122"/>
              </a:rPr>
              <a:t>此处添加内容</a:t>
            </a:r>
          </a:p>
        </p:txBody>
      </p:sp>
      <p:sp>
        <p:nvSpPr>
          <p:cNvPr id="23579" name="Line 28"/>
          <p:cNvSpPr>
            <a:spLocks noChangeShapeType="1"/>
          </p:cNvSpPr>
          <p:nvPr/>
        </p:nvSpPr>
        <p:spPr bwMode="auto">
          <a:xfrm>
            <a:off x="5851525" y="3930650"/>
            <a:ext cx="0" cy="915988"/>
          </a:xfrm>
          <a:prstGeom prst="line">
            <a:avLst/>
          </a:prstGeom>
          <a:noFill/>
          <a:ln w="3175" cap="flat" cmpd="sng">
            <a:solidFill>
              <a:srgbClr val="969696"/>
            </a:solidFill>
            <a:prstDash val="dash"/>
            <a:round/>
            <a:headEnd/>
            <a:tailEnd/>
          </a:ln>
          <a:effectLst/>
        </p:spPr>
        <p:txBody>
          <a:bodyPr/>
          <a:lstStyle/>
          <a:p>
            <a:endParaRPr lang="zh-CN" altLang="en-US"/>
          </a:p>
        </p:txBody>
      </p:sp>
      <p:sp>
        <p:nvSpPr>
          <p:cNvPr id="23580" name="Rectangle 29"/>
          <p:cNvSpPr>
            <a:spLocks noChangeArrowheads="1"/>
          </p:cNvSpPr>
          <p:nvPr/>
        </p:nvSpPr>
        <p:spPr bwMode="auto">
          <a:xfrm>
            <a:off x="955675" y="4827588"/>
            <a:ext cx="2136775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263525" indent="-263525" algn="l">
              <a:lnSpc>
                <a:spcPct val="120000"/>
              </a:lnSpc>
              <a:buFontTx/>
              <a:buChar char="•"/>
            </a:pPr>
            <a:r>
              <a:rPr lang="zh-CN" altLang="en-US" sz="1400" dirty="0">
                <a:ea typeface="宋体" pitchFamily="2" charset="-122"/>
              </a:rPr>
              <a:t>单击添加段落文字</a:t>
            </a:r>
          </a:p>
          <a:p>
            <a:pPr marL="263525" indent="-263525" algn="l">
              <a:lnSpc>
                <a:spcPct val="120000"/>
              </a:lnSpc>
              <a:buFontTx/>
              <a:buChar char="•"/>
            </a:pPr>
            <a:r>
              <a:rPr lang="zh-CN" altLang="en-US" sz="1400" dirty="0">
                <a:ea typeface="宋体" pitchFamily="2" charset="-122"/>
              </a:rPr>
              <a:t>单击添加段落文字</a:t>
            </a:r>
          </a:p>
        </p:txBody>
      </p:sp>
      <p:sp>
        <p:nvSpPr>
          <p:cNvPr id="23581" name="Rectangle 30"/>
          <p:cNvSpPr>
            <a:spLocks noChangeArrowheads="1"/>
          </p:cNvSpPr>
          <p:nvPr/>
        </p:nvSpPr>
        <p:spPr bwMode="auto">
          <a:xfrm>
            <a:off x="3554413" y="4827588"/>
            <a:ext cx="2136775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263525" indent="-263525" algn="l">
              <a:lnSpc>
                <a:spcPct val="120000"/>
              </a:lnSpc>
              <a:buFontTx/>
              <a:buChar char="•"/>
            </a:pPr>
            <a:r>
              <a:rPr lang="zh-CN" altLang="en-US" sz="1400" dirty="0">
                <a:ea typeface="宋体" pitchFamily="2" charset="-122"/>
              </a:rPr>
              <a:t>单击添加段落文字</a:t>
            </a:r>
          </a:p>
          <a:p>
            <a:pPr marL="263525" indent="-263525" algn="l">
              <a:lnSpc>
                <a:spcPct val="120000"/>
              </a:lnSpc>
              <a:buFontTx/>
              <a:buChar char="•"/>
            </a:pPr>
            <a:r>
              <a:rPr lang="zh-CN" altLang="en-US" sz="1400" dirty="0">
                <a:ea typeface="宋体" pitchFamily="2" charset="-122"/>
              </a:rPr>
              <a:t>单击添加段落文字</a:t>
            </a:r>
          </a:p>
        </p:txBody>
      </p:sp>
      <p:sp>
        <p:nvSpPr>
          <p:cNvPr id="23582" name="Rectangle 31"/>
          <p:cNvSpPr>
            <a:spLocks noChangeArrowheads="1"/>
          </p:cNvSpPr>
          <p:nvPr/>
        </p:nvSpPr>
        <p:spPr bwMode="auto">
          <a:xfrm>
            <a:off x="6196013" y="4827588"/>
            <a:ext cx="2136775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263525" indent="-263525" algn="l">
              <a:lnSpc>
                <a:spcPct val="120000"/>
              </a:lnSpc>
              <a:buFontTx/>
              <a:buChar char="•"/>
            </a:pPr>
            <a:r>
              <a:rPr lang="zh-CN" altLang="en-US" sz="1400" dirty="0">
                <a:ea typeface="宋体" pitchFamily="2" charset="-122"/>
              </a:rPr>
              <a:t>单击添加段落文字</a:t>
            </a:r>
          </a:p>
          <a:p>
            <a:pPr marL="263525" indent="-263525" algn="l">
              <a:lnSpc>
                <a:spcPct val="120000"/>
              </a:lnSpc>
              <a:buFontTx/>
              <a:buChar char="•"/>
            </a:pPr>
            <a:r>
              <a:rPr lang="zh-CN" altLang="en-US" sz="1400" dirty="0">
                <a:ea typeface="宋体" pitchFamily="2" charset="-122"/>
              </a:rPr>
              <a:t>单击添加段落文字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35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35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900" decel="100000" fill="hold"/>
                                        <p:tgtEl>
                                          <p:spTgt spid="235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35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5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21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78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22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35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35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35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900" decel="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500"/>
                            </p:stCondLst>
                            <p:childTnLst>
                              <p:par>
                                <p:cTn id="37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235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235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900" decel="100000" fill="hold"/>
                                        <p:tgtEl>
                                          <p:spTgt spid="235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35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500"/>
                            </p:stCondLst>
                            <p:childTnLst>
                              <p:par>
                                <p:cTn id="44" presetID="5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46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77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4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235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6500"/>
                            </p:stCondLst>
                            <p:childTnLst>
                              <p:par>
                                <p:cTn id="5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35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35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7000"/>
                            </p:stCondLst>
                            <p:childTnLst>
                              <p:par>
                                <p:cTn id="55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235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235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900" decel="100000" fill="hold"/>
                                        <p:tgtEl>
                                          <p:spTgt spid="235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35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8000"/>
                            </p:stCondLst>
                            <p:childTnLst>
                              <p:par>
                                <p:cTn id="62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235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235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900" decel="100000" fill="hold"/>
                                        <p:tgtEl>
                                          <p:spTgt spid="235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35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9000"/>
                            </p:stCondLst>
                            <p:childTnLst>
                              <p:par>
                                <p:cTn id="69" presetID="5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1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76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72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235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10000"/>
                            </p:stCondLst>
                            <p:childTnLst>
                              <p:par>
                                <p:cTn id="7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235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235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0500"/>
                            </p:stCondLst>
                            <p:childTnLst>
                              <p:par>
                                <p:cTn id="80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1000"/>
                                        <p:tgtEl>
                                          <p:spTgt spid="235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235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900" decel="100000" fill="hold"/>
                                        <p:tgtEl>
                                          <p:spTgt spid="235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35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11500"/>
                            </p:stCondLst>
                            <p:childTnLst>
                              <p:par>
                                <p:cTn id="87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1000"/>
                                        <p:tgtEl>
                                          <p:spTgt spid="235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235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900" decel="100000" fill="hold"/>
                                        <p:tgtEl>
                                          <p:spTgt spid="235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35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575" grpId="0" animBg="1"/>
      <p:bldP spid="23576" grpId="0"/>
      <p:bldP spid="23577" grpId="0"/>
      <p:bldP spid="23578" grpId="0"/>
      <p:bldP spid="23579" grpId="0" animBg="1"/>
      <p:bldP spid="23580" grpId="0"/>
      <p:bldP spid="23581" grpId="0"/>
      <p:bldP spid="23582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Freeform 3"/>
          <p:cNvSpPr>
            <a:spLocks/>
          </p:cNvSpPr>
          <p:nvPr/>
        </p:nvSpPr>
        <p:spPr bwMode="gray">
          <a:xfrm rot="851759">
            <a:off x="4340225" y="3736975"/>
            <a:ext cx="1041400" cy="777875"/>
          </a:xfrm>
          <a:custGeom>
            <a:avLst/>
            <a:gdLst/>
            <a:ahLst/>
            <a:cxnLst>
              <a:cxn ang="0">
                <a:pos x="959" y="451"/>
              </a:cxn>
              <a:cxn ang="0">
                <a:pos x="959" y="595"/>
              </a:cxn>
              <a:cxn ang="0">
                <a:pos x="221" y="0"/>
              </a:cxn>
              <a:cxn ang="0">
                <a:pos x="71" y="1041"/>
              </a:cxn>
              <a:cxn ang="0">
                <a:pos x="959" y="713"/>
              </a:cxn>
              <a:cxn ang="0">
                <a:pos x="959" y="870"/>
              </a:cxn>
              <a:cxn ang="0">
                <a:pos x="1168" y="667"/>
              </a:cxn>
              <a:cxn ang="0">
                <a:pos x="959" y="451"/>
              </a:cxn>
            </a:cxnLst>
            <a:rect l="0" t="0" r="r" b="b"/>
            <a:pathLst>
              <a:path w="1168" h="1041">
                <a:moveTo>
                  <a:pt x="959" y="451"/>
                </a:moveTo>
                <a:lnTo>
                  <a:pt x="959" y="595"/>
                </a:lnTo>
                <a:cubicBezTo>
                  <a:pt x="731" y="553"/>
                  <a:pt x="274" y="438"/>
                  <a:pt x="221" y="0"/>
                </a:cubicBezTo>
                <a:cubicBezTo>
                  <a:pt x="89" y="75"/>
                  <a:pt x="0" y="906"/>
                  <a:pt x="71" y="1041"/>
                </a:cubicBezTo>
                <a:cubicBezTo>
                  <a:pt x="377" y="619"/>
                  <a:pt x="814" y="742"/>
                  <a:pt x="959" y="713"/>
                </a:cubicBezTo>
                <a:lnTo>
                  <a:pt x="959" y="870"/>
                </a:lnTo>
                <a:lnTo>
                  <a:pt x="1168" y="667"/>
                </a:lnTo>
                <a:lnTo>
                  <a:pt x="959" y="451"/>
                </a:lnTo>
                <a:close/>
              </a:path>
            </a:pathLst>
          </a:custGeom>
          <a:gradFill rotWithShape="1">
            <a:gsLst>
              <a:gs pos="0">
                <a:srgbClr val="000000">
                  <a:gamma/>
                  <a:tint val="40000"/>
                  <a:invGamma/>
                </a:srgbClr>
              </a:gs>
              <a:gs pos="100000">
                <a:srgbClr val="000000"/>
              </a:gs>
            </a:gsLst>
            <a:lin ang="0" scaled="1"/>
          </a:gradFill>
          <a:ln w="9525" cap="flat" cmpd="sng">
            <a:noFill/>
            <a:prstDash val="solid"/>
            <a:round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17" name="Group 5"/>
          <p:cNvGrpSpPr>
            <a:grpSpLocks/>
          </p:cNvGrpSpPr>
          <p:nvPr/>
        </p:nvGrpSpPr>
        <p:grpSpPr bwMode="auto">
          <a:xfrm rot="-3733502" flipH="1" flipV="1">
            <a:off x="2009776" y="3756025"/>
            <a:ext cx="3390900" cy="822325"/>
            <a:chOff x="2532" y="1051"/>
            <a:chExt cx="893" cy="246"/>
          </a:xfrm>
        </p:grpSpPr>
        <p:grpSp>
          <p:nvGrpSpPr>
            <p:cNvPr id="118" name="Group 6"/>
            <p:cNvGrpSpPr>
              <a:grpSpLocks/>
            </p:cNvGrpSpPr>
            <p:nvPr/>
          </p:nvGrpSpPr>
          <p:grpSpPr bwMode="auto">
            <a:xfrm>
              <a:off x="2526" y="1060"/>
              <a:ext cx="742" cy="186"/>
              <a:chOff x="1565" y="2568"/>
              <a:chExt cx="1118" cy="279"/>
            </a:xfrm>
          </p:grpSpPr>
          <p:sp>
            <p:nvSpPr>
              <p:cNvPr id="124" name="AutoShape 7"/>
              <p:cNvSpPr>
                <a:spLocks noChangeArrowheads="1"/>
              </p:cNvSpPr>
              <p:nvPr/>
            </p:nvSpPr>
            <p:spPr bwMode="white">
              <a:xfrm rot="5263130">
                <a:off x="1859" y="2274"/>
                <a:ext cx="227" cy="816"/>
              </a:xfrm>
              <a:prstGeom prst="moon">
                <a:avLst>
                  <a:gd name="adj" fmla="val 49773"/>
                </a:avLst>
              </a:prstGeom>
              <a:solidFill>
                <a:srgbClr val="FFFFFF">
                  <a:alpha val="2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AutoShape 8"/>
              <p:cNvSpPr>
                <a:spLocks noChangeArrowheads="1"/>
              </p:cNvSpPr>
              <p:nvPr/>
            </p:nvSpPr>
            <p:spPr bwMode="white">
              <a:xfrm rot="6078281">
                <a:off x="1995" y="2274"/>
                <a:ext cx="227" cy="816"/>
              </a:xfrm>
              <a:prstGeom prst="moon">
                <a:avLst>
                  <a:gd name="adj" fmla="val 49773"/>
                </a:avLst>
              </a:prstGeom>
              <a:solidFill>
                <a:srgbClr val="FFFFFF">
                  <a:alpha val="2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AutoShape 9"/>
              <p:cNvSpPr>
                <a:spLocks noChangeArrowheads="1"/>
              </p:cNvSpPr>
              <p:nvPr/>
            </p:nvSpPr>
            <p:spPr bwMode="white">
              <a:xfrm rot="6373927">
                <a:off x="2071" y="2296"/>
                <a:ext cx="227" cy="816"/>
              </a:xfrm>
              <a:prstGeom prst="moon">
                <a:avLst>
                  <a:gd name="adj" fmla="val 49773"/>
                </a:avLst>
              </a:prstGeom>
              <a:solidFill>
                <a:srgbClr val="FFFFFF">
                  <a:alpha val="2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AutoShape 10"/>
              <p:cNvSpPr>
                <a:spLocks noChangeArrowheads="1"/>
              </p:cNvSpPr>
              <p:nvPr/>
            </p:nvSpPr>
            <p:spPr bwMode="white">
              <a:xfrm rot="6906312">
                <a:off x="2161" y="2326"/>
                <a:ext cx="227" cy="816"/>
              </a:xfrm>
              <a:prstGeom prst="moon">
                <a:avLst>
                  <a:gd name="adj" fmla="val 49773"/>
                </a:avLst>
              </a:prstGeom>
              <a:solidFill>
                <a:srgbClr val="FFFFFF">
                  <a:alpha val="2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19" name="Group 11"/>
            <p:cNvGrpSpPr>
              <a:grpSpLocks/>
            </p:cNvGrpSpPr>
            <p:nvPr/>
          </p:nvGrpSpPr>
          <p:grpSpPr bwMode="auto">
            <a:xfrm rot="1353540">
              <a:off x="2680" y="1110"/>
              <a:ext cx="742" cy="186"/>
              <a:chOff x="1565" y="2568"/>
              <a:chExt cx="1118" cy="279"/>
            </a:xfrm>
          </p:grpSpPr>
          <p:sp>
            <p:nvSpPr>
              <p:cNvPr id="120" name="AutoShape 12"/>
              <p:cNvSpPr>
                <a:spLocks noChangeArrowheads="1"/>
              </p:cNvSpPr>
              <p:nvPr/>
            </p:nvSpPr>
            <p:spPr bwMode="white">
              <a:xfrm rot="5263130">
                <a:off x="1859" y="2274"/>
                <a:ext cx="227" cy="816"/>
              </a:xfrm>
              <a:prstGeom prst="moon">
                <a:avLst>
                  <a:gd name="adj" fmla="val 49773"/>
                </a:avLst>
              </a:prstGeom>
              <a:solidFill>
                <a:srgbClr val="FFFFFF">
                  <a:alpha val="2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AutoShape 13"/>
              <p:cNvSpPr>
                <a:spLocks noChangeArrowheads="1"/>
              </p:cNvSpPr>
              <p:nvPr/>
            </p:nvSpPr>
            <p:spPr bwMode="white">
              <a:xfrm rot="6078281">
                <a:off x="1995" y="2274"/>
                <a:ext cx="227" cy="816"/>
              </a:xfrm>
              <a:prstGeom prst="moon">
                <a:avLst>
                  <a:gd name="adj" fmla="val 49773"/>
                </a:avLst>
              </a:prstGeom>
              <a:solidFill>
                <a:srgbClr val="FFFFFF">
                  <a:alpha val="2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AutoShape 14"/>
              <p:cNvSpPr>
                <a:spLocks noChangeArrowheads="1"/>
              </p:cNvSpPr>
              <p:nvPr/>
            </p:nvSpPr>
            <p:spPr bwMode="white">
              <a:xfrm rot="6373927">
                <a:off x="2071" y="2296"/>
                <a:ext cx="227" cy="816"/>
              </a:xfrm>
              <a:prstGeom prst="moon">
                <a:avLst>
                  <a:gd name="adj" fmla="val 49773"/>
                </a:avLst>
              </a:prstGeom>
              <a:solidFill>
                <a:srgbClr val="FFFFFF">
                  <a:alpha val="2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AutoShape 15"/>
              <p:cNvSpPr>
                <a:spLocks noChangeArrowheads="1"/>
              </p:cNvSpPr>
              <p:nvPr/>
            </p:nvSpPr>
            <p:spPr bwMode="white">
              <a:xfrm rot="6906312">
                <a:off x="2161" y="2326"/>
                <a:ext cx="227" cy="816"/>
              </a:xfrm>
              <a:prstGeom prst="moon">
                <a:avLst>
                  <a:gd name="adj" fmla="val 49773"/>
                </a:avLst>
              </a:prstGeom>
              <a:solidFill>
                <a:srgbClr val="FFFFFF">
                  <a:alpha val="2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28" name="组合 127"/>
          <p:cNvGrpSpPr/>
          <p:nvPr/>
        </p:nvGrpSpPr>
        <p:grpSpPr>
          <a:xfrm>
            <a:off x="1503363" y="1841500"/>
            <a:ext cx="3181350" cy="3154363"/>
            <a:chOff x="1503363" y="1841500"/>
            <a:chExt cx="3181350" cy="3154363"/>
          </a:xfrm>
        </p:grpSpPr>
        <p:pic>
          <p:nvPicPr>
            <p:cNvPr id="129" name="Picture 4" descr="circuler_1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503363" y="1843088"/>
              <a:ext cx="3181350" cy="3152775"/>
            </a:xfrm>
            <a:prstGeom prst="rect">
              <a:avLst/>
            </a:prstGeom>
            <a:noFill/>
          </p:spPr>
        </p:pic>
        <p:sp>
          <p:nvSpPr>
            <p:cNvPr id="130" name="Arc 16"/>
            <p:cNvSpPr>
              <a:spLocks/>
            </p:cNvSpPr>
            <p:nvPr/>
          </p:nvSpPr>
          <p:spPr bwMode="invGray">
            <a:xfrm rot="5400000" flipH="1" flipV="1">
              <a:off x="1527969" y="1834356"/>
              <a:ext cx="1584325" cy="1598613"/>
            </a:xfrm>
            <a:custGeom>
              <a:avLst/>
              <a:gdLst>
                <a:gd name="G0" fmla="+- 0 0 0"/>
                <a:gd name="G1" fmla="+- 21599 0 0"/>
                <a:gd name="G2" fmla="+- 21600 0 0"/>
                <a:gd name="T0" fmla="*/ 229 w 21600"/>
                <a:gd name="T1" fmla="*/ 0 h 21800"/>
                <a:gd name="T2" fmla="*/ 21599 w 21600"/>
                <a:gd name="T3" fmla="*/ 21800 h 21800"/>
                <a:gd name="T4" fmla="*/ 0 w 21600"/>
                <a:gd name="T5" fmla="*/ 21599 h 21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800" fill="none" extrusionOk="0">
                  <a:moveTo>
                    <a:pt x="228" y="0"/>
                  </a:moveTo>
                  <a:cubicBezTo>
                    <a:pt x="12068" y="125"/>
                    <a:pt x="21600" y="9758"/>
                    <a:pt x="21600" y="21599"/>
                  </a:cubicBezTo>
                  <a:cubicBezTo>
                    <a:pt x="21600" y="21666"/>
                    <a:pt x="21599" y="21733"/>
                    <a:pt x="21599" y="21800"/>
                  </a:cubicBezTo>
                </a:path>
                <a:path w="21600" h="21800" stroke="0" extrusionOk="0">
                  <a:moveTo>
                    <a:pt x="228" y="0"/>
                  </a:moveTo>
                  <a:cubicBezTo>
                    <a:pt x="12068" y="125"/>
                    <a:pt x="21600" y="9758"/>
                    <a:pt x="21600" y="21599"/>
                  </a:cubicBezTo>
                  <a:cubicBezTo>
                    <a:pt x="21600" y="21666"/>
                    <a:pt x="21599" y="21733"/>
                    <a:pt x="21599" y="21800"/>
                  </a:cubicBezTo>
                  <a:lnTo>
                    <a:pt x="0" y="21599"/>
                  </a:lnTo>
                  <a:close/>
                </a:path>
              </a:pathLst>
            </a:custGeom>
            <a:solidFill>
              <a:srgbClr val="F67412">
                <a:alpha val="50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1" name="Arc 17"/>
            <p:cNvSpPr>
              <a:spLocks/>
            </p:cNvSpPr>
            <p:nvPr/>
          </p:nvSpPr>
          <p:spPr bwMode="gray">
            <a:xfrm>
              <a:off x="3116263" y="1844675"/>
              <a:ext cx="1558925" cy="1590675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DA7F70">
                <a:alpha val="50000"/>
              </a:srgbClr>
            </a:solidFill>
            <a:ln w="762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2" name="Arc 18"/>
            <p:cNvSpPr>
              <a:spLocks/>
            </p:cNvSpPr>
            <p:nvPr/>
          </p:nvSpPr>
          <p:spPr bwMode="gray">
            <a:xfrm rot="16200000" flipH="1">
              <a:off x="1532732" y="3396456"/>
              <a:ext cx="1581150" cy="1598613"/>
            </a:xfrm>
            <a:custGeom>
              <a:avLst/>
              <a:gdLst>
                <a:gd name="G0" fmla="+- 460 0 0"/>
                <a:gd name="G1" fmla="+- 21600 0 0"/>
                <a:gd name="G2" fmla="+- 21600 0 0"/>
                <a:gd name="T0" fmla="*/ 0 w 22060"/>
                <a:gd name="T1" fmla="*/ 5 h 21801"/>
                <a:gd name="T2" fmla="*/ 22059 w 22060"/>
                <a:gd name="T3" fmla="*/ 21801 h 21801"/>
                <a:gd name="T4" fmla="*/ 460 w 22060"/>
                <a:gd name="T5" fmla="*/ 21600 h 21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060" h="21801" fill="none" extrusionOk="0">
                  <a:moveTo>
                    <a:pt x="-1" y="4"/>
                  </a:moveTo>
                  <a:cubicBezTo>
                    <a:pt x="153" y="1"/>
                    <a:pt x="306" y="-1"/>
                    <a:pt x="460" y="0"/>
                  </a:cubicBezTo>
                  <a:cubicBezTo>
                    <a:pt x="12389" y="0"/>
                    <a:pt x="22060" y="9670"/>
                    <a:pt x="22060" y="21600"/>
                  </a:cubicBezTo>
                  <a:cubicBezTo>
                    <a:pt x="22060" y="21667"/>
                    <a:pt x="22059" y="21734"/>
                    <a:pt x="22059" y="21801"/>
                  </a:cubicBezTo>
                </a:path>
                <a:path w="22060" h="21801" stroke="0" extrusionOk="0">
                  <a:moveTo>
                    <a:pt x="-1" y="4"/>
                  </a:moveTo>
                  <a:cubicBezTo>
                    <a:pt x="153" y="1"/>
                    <a:pt x="306" y="-1"/>
                    <a:pt x="460" y="0"/>
                  </a:cubicBezTo>
                  <a:cubicBezTo>
                    <a:pt x="12389" y="0"/>
                    <a:pt x="22060" y="9670"/>
                    <a:pt x="22060" y="21600"/>
                  </a:cubicBezTo>
                  <a:cubicBezTo>
                    <a:pt x="22060" y="21667"/>
                    <a:pt x="22059" y="21734"/>
                    <a:pt x="22059" y="21801"/>
                  </a:cubicBezTo>
                  <a:lnTo>
                    <a:pt x="460" y="21600"/>
                  </a:lnTo>
                  <a:close/>
                </a:path>
              </a:pathLst>
            </a:custGeom>
            <a:solidFill>
              <a:srgbClr val="F0CBC5">
                <a:alpha val="50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3" name="Arc 19"/>
            <p:cNvSpPr>
              <a:spLocks/>
            </p:cNvSpPr>
            <p:nvPr/>
          </p:nvSpPr>
          <p:spPr bwMode="invGray">
            <a:xfrm flipV="1">
              <a:off x="3116263" y="3427413"/>
              <a:ext cx="1558925" cy="1554162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CCFF33">
                <a:alpha val="50000"/>
              </a:srgbClr>
            </a:solidFill>
            <a:ln w="762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34" name="Oval 20"/>
          <p:cNvSpPr>
            <a:spLocks noChangeArrowheads="1"/>
          </p:cNvSpPr>
          <p:nvPr/>
        </p:nvSpPr>
        <p:spPr bwMode="gray">
          <a:xfrm>
            <a:off x="2435225" y="2752725"/>
            <a:ext cx="1349375" cy="1349375"/>
          </a:xfrm>
          <a:prstGeom prst="ellipse">
            <a:avLst/>
          </a:prstGeom>
          <a:gradFill rotWithShape="1">
            <a:gsLst>
              <a:gs pos="0">
                <a:srgbClr val="FFC000">
                  <a:shade val="51000"/>
                  <a:satMod val="130000"/>
                </a:srgbClr>
              </a:gs>
              <a:gs pos="80000">
                <a:srgbClr val="FFC000">
                  <a:shade val="93000"/>
                  <a:satMod val="130000"/>
                </a:srgbClr>
              </a:gs>
              <a:gs pos="100000">
                <a:srgbClr val="FFC000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宋体"/>
              <a:cs typeface="+mn-cs"/>
            </a:endParaRPr>
          </a:p>
        </p:txBody>
      </p:sp>
      <p:grpSp>
        <p:nvGrpSpPr>
          <p:cNvPr id="135" name="组合 134"/>
          <p:cNvGrpSpPr/>
          <p:nvPr/>
        </p:nvGrpSpPr>
        <p:grpSpPr>
          <a:xfrm>
            <a:off x="5526094" y="3633788"/>
            <a:ext cx="1639881" cy="1655763"/>
            <a:chOff x="5526094" y="3633788"/>
            <a:chExt cx="1639881" cy="1655763"/>
          </a:xfrm>
        </p:grpSpPr>
        <p:sp>
          <p:nvSpPr>
            <p:cNvPr id="136" name="Oval 21"/>
            <p:cNvSpPr>
              <a:spLocks noChangeArrowheads="1"/>
            </p:cNvSpPr>
            <p:nvPr/>
          </p:nvSpPr>
          <p:spPr bwMode="invGray">
            <a:xfrm>
              <a:off x="5526094" y="3643314"/>
              <a:ext cx="1638300" cy="1646237"/>
            </a:xfrm>
            <a:prstGeom prst="ellipse">
              <a:avLst/>
            </a:prstGeom>
            <a:gradFill rotWithShape="1">
              <a:gsLst>
                <a:gs pos="0">
                  <a:srgbClr val="FFC000">
                    <a:shade val="51000"/>
                    <a:satMod val="130000"/>
                  </a:srgbClr>
                </a:gs>
                <a:gs pos="80000">
                  <a:srgbClr val="FFC000">
                    <a:shade val="93000"/>
                    <a:satMod val="130000"/>
                  </a:srgbClr>
                </a:gs>
                <a:gs pos="100000">
                  <a:srgbClr val="FFC000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宋体"/>
                <a:cs typeface="+mn-cs"/>
              </a:endParaRPr>
            </a:p>
          </p:txBody>
        </p:sp>
        <p:grpSp>
          <p:nvGrpSpPr>
            <p:cNvPr id="137" name="组合 169"/>
            <p:cNvGrpSpPr/>
            <p:nvPr/>
          </p:nvGrpSpPr>
          <p:grpSpPr>
            <a:xfrm>
              <a:off x="5534025" y="3633788"/>
              <a:ext cx="1631950" cy="1630362"/>
              <a:chOff x="5534025" y="3633788"/>
              <a:chExt cx="1631950" cy="1630362"/>
            </a:xfrm>
          </p:grpSpPr>
          <p:sp>
            <p:nvSpPr>
              <p:cNvPr id="138" name="Line 22"/>
              <p:cNvSpPr>
                <a:spLocks noChangeShapeType="1"/>
              </p:cNvSpPr>
              <p:nvPr/>
            </p:nvSpPr>
            <p:spPr bwMode="gray">
              <a:xfrm>
                <a:off x="6351588" y="3633788"/>
                <a:ext cx="0" cy="1630362"/>
              </a:xfrm>
              <a:prstGeom prst="line">
                <a:avLst/>
              </a:prstGeom>
              <a:noFill/>
              <a:ln w="19050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9" name="Line 23"/>
              <p:cNvSpPr>
                <a:spLocks noChangeShapeType="1"/>
              </p:cNvSpPr>
              <p:nvPr/>
            </p:nvSpPr>
            <p:spPr bwMode="gray">
              <a:xfrm>
                <a:off x="5534025" y="4459288"/>
                <a:ext cx="1631950" cy="0"/>
              </a:xfrm>
              <a:prstGeom prst="line">
                <a:avLst/>
              </a:prstGeom>
              <a:noFill/>
              <a:ln w="19050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40" name="Group 24"/>
          <p:cNvGrpSpPr>
            <a:grpSpLocks/>
          </p:cNvGrpSpPr>
          <p:nvPr/>
        </p:nvGrpSpPr>
        <p:grpSpPr bwMode="auto">
          <a:xfrm rot="-3173304" flipH="1" flipV="1">
            <a:off x="2835276" y="4117975"/>
            <a:ext cx="2184400" cy="434975"/>
            <a:chOff x="1565" y="2568"/>
            <a:chExt cx="1118" cy="279"/>
          </a:xfrm>
        </p:grpSpPr>
        <p:sp>
          <p:nvSpPr>
            <p:cNvPr id="141" name="AutoShape 25"/>
            <p:cNvSpPr>
              <a:spLocks noChangeArrowheads="1"/>
            </p:cNvSpPr>
            <p:nvPr/>
          </p:nvSpPr>
          <p:spPr bwMode="white">
            <a:xfrm rot="5263130">
              <a:off x="1859" y="2274"/>
              <a:ext cx="227" cy="816"/>
            </a:xfrm>
            <a:prstGeom prst="moon">
              <a:avLst>
                <a:gd name="adj" fmla="val 49773"/>
              </a:avLst>
            </a:prstGeom>
            <a:solidFill>
              <a:srgbClr val="FFFFFF">
                <a:alpha val="6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AutoShape 26"/>
            <p:cNvSpPr>
              <a:spLocks noChangeArrowheads="1"/>
            </p:cNvSpPr>
            <p:nvPr/>
          </p:nvSpPr>
          <p:spPr bwMode="white">
            <a:xfrm rot="6078281">
              <a:off x="1995" y="2274"/>
              <a:ext cx="227" cy="816"/>
            </a:xfrm>
            <a:prstGeom prst="moon">
              <a:avLst>
                <a:gd name="adj" fmla="val 49773"/>
              </a:avLst>
            </a:prstGeom>
            <a:solidFill>
              <a:srgbClr val="FFFFFF">
                <a:alpha val="6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AutoShape 27"/>
            <p:cNvSpPr>
              <a:spLocks noChangeArrowheads="1"/>
            </p:cNvSpPr>
            <p:nvPr/>
          </p:nvSpPr>
          <p:spPr bwMode="white">
            <a:xfrm rot="6373927">
              <a:off x="2071" y="2296"/>
              <a:ext cx="227" cy="816"/>
            </a:xfrm>
            <a:prstGeom prst="moon">
              <a:avLst>
                <a:gd name="adj" fmla="val 49773"/>
              </a:avLst>
            </a:prstGeom>
            <a:solidFill>
              <a:srgbClr val="FFFFFF">
                <a:alpha val="6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AutoShape 28"/>
            <p:cNvSpPr>
              <a:spLocks noChangeArrowheads="1"/>
            </p:cNvSpPr>
            <p:nvPr/>
          </p:nvSpPr>
          <p:spPr bwMode="white">
            <a:xfrm rot="6906312">
              <a:off x="2161" y="2326"/>
              <a:ext cx="227" cy="816"/>
            </a:xfrm>
            <a:prstGeom prst="moon">
              <a:avLst>
                <a:gd name="adj" fmla="val 49773"/>
              </a:avLst>
            </a:prstGeom>
            <a:solidFill>
              <a:srgbClr val="FFFFFF">
                <a:alpha val="6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45" name="Rectangle 29"/>
          <p:cNvSpPr>
            <a:spLocks noChangeArrowheads="1"/>
          </p:cNvSpPr>
          <p:nvPr/>
        </p:nvSpPr>
        <p:spPr bwMode="auto">
          <a:xfrm>
            <a:off x="2010692" y="2465388"/>
            <a:ext cx="598241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</a:rPr>
              <a:t>文本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111111"/>
              </a:solidFill>
              <a:effectLst/>
              <a:uLnTx/>
              <a:uFillTx/>
            </a:endParaRPr>
          </a:p>
        </p:txBody>
      </p:sp>
      <p:sp>
        <p:nvSpPr>
          <p:cNvPr id="146" name="Rectangle 30"/>
          <p:cNvSpPr>
            <a:spLocks noChangeArrowheads="1"/>
          </p:cNvSpPr>
          <p:nvPr/>
        </p:nvSpPr>
        <p:spPr bwMode="auto">
          <a:xfrm>
            <a:off x="3507176" y="2465388"/>
            <a:ext cx="598241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</a:rPr>
              <a:t>文本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111111"/>
              </a:solidFill>
              <a:effectLst/>
              <a:uLnTx/>
              <a:uFillTx/>
            </a:endParaRPr>
          </a:p>
        </p:txBody>
      </p:sp>
      <p:sp>
        <p:nvSpPr>
          <p:cNvPr id="147" name="Rectangle 31"/>
          <p:cNvSpPr>
            <a:spLocks noChangeArrowheads="1"/>
          </p:cNvSpPr>
          <p:nvPr/>
        </p:nvSpPr>
        <p:spPr bwMode="auto">
          <a:xfrm>
            <a:off x="2010692" y="3946525"/>
            <a:ext cx="598241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</a:rPr>
              <a:t>文本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111111"/>
              </a:solidFill>
              <a:effectLst/>
              <a:uLnTx/>
              <a:uFillTx/>
            </a:endParaRPr>
          </a:p>
        </p:txBody>
      </p:sp>
      <p:sp>
        <p:nvSpPr>
          <p:cNvPr id="148" name="Rectangle 32"/>
          <p:cNvSpPr>
            <a:spLocks noChangeArrowheads="1"/>
          </p:cNvSpPr>
          <p:nvPr/>
        </p:nvSpPr>
        <p:spPr bwMode="auto">
          <a:xfrm>
            <a:off x="3529401" y="3946525"/>
            <a:ext cx="598241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</a:rPr>
              <a:t>文本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111111"/>
              </a:solidFill>
              <a:effectLst/>
              <a:uLnTx/>
              <a:uFillTx/>
            </a:endParaRPr>
          </a:p>
        </p:txBody>
      </p:sp>
      <p:sp>
        <p:nvSpPr>
          <p:cNvPr id="149" name="Rectangle 33"/>
          <p:cNvSpPr>
            <a:spLocks noChangeArrowheads="1"/>
          </p:cNvSpPr>
          <p:nvPr/>
        </p:nvSpPr>
        <p:spPr bwMode="auto">
          <a:xfrm>
            <a:off x="2503488" y="3214686"/>
            <a:ext cx="1196975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</a:rPr>
              <a:t>文本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srgbClr val="111111"/>
              </a:solidFill>
              <a:effectLst/>
              <a:uLnTx/>
              <a:uFillTx/>
            </a:endParaRPr>
          </a:p>
        </p:txBody>
      </p:sp>
      <p:sp>
        <p:nvSpPr>
          <p:cNvPr id="150" name="Rectangle 34"/>
          <p:cNvSpPr>
            <a:spLocks noChangeArrowheads="1"/>
          </p:cNvSpPr>
          <p:nvPr/>
        </p:nvSpPr>
        <p:spPr bwMode="auto">
          <a:xfrm>
            <a:off x="5711153" y="4085166"/>
            <a:ext cx="543739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</a:rPr>
              <a:t>文本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111111"/>
              </a:solidFill>
              <a:effectLst/>
              <a:uLnTx/>
              <a:uFillTx/>
            </a:endParaRPr>
          </a:p>
        </p:txBody>
      </p:sp>
      <p:sp>
        <p:nvSpPr>
          <p:cNvPr id="151" name="Rectangle 35"/>
          <p:cNvSpPr>
            <a:spLocks noChangeArrowheads="1"/>
          </p:cNvSpPr>
          <p:nvPr/>
        </p:nvSpPr>
        <p:spPr bwMode="auto">
          <a:xfrm>
            <a:off x="6403741" y="4085166"/>
            <a:ext cx="543739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</a:rPr>
              <a:t>文本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111111"/>
              </a:solidFill>
              <a:effectLst/>
              <a:uLnTx/>
              <a:uFillTx/>
            </a:endParaRPr>
          </a:p>
        </p:txBody>
      </p:sp>
      <p:sp>
        <p:nvSpPr>
          <p:cNvPr id="152" name="Rectangle 36"/>
          <p:cNvSpPr>
            <a:spLocks noChangeArrowheads="1"/>
          </p:cNvSpPr>
          <p:nvPr/>
        </p:nvSpPr>
        <p:spPr bwMode="auto">
          <a:xfrm>
            <a:off x="5711153" y="4548716"/>
            <a:ext cx="543739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</a:rPr>
              <a:t>文本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111111"/>
              </a:solidFill>
              <a:effectLst/>
              <a:uLnTx/>
              <a:uFillTx/>
            </a:endParaRPr>
          </a:p>
        </p:txBody>
      </p:sp>
      <p:sp>
        <p:nvSpPr>
          <p:cNvPr id="153" name="Rectangle 37"/>
          <p:cNvSpPr>
            <a:spLocks noChangeArrowheads="1"/>
          </p:cNvSpPr>
          <p:nvPr/>
        </p:nvSpPr>
        <p:spPr bwMode="auto">
          <a:xfrm>
            <a:off x="6419616" y="4539191"/>
            <a:ext cx="543739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111111"/>
                </a:solidFill>
                <a:effectLst/>
                <a:uLnTx/>
                <a:uFillTx/>
              </a:rPr>
              <a:t>文本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111111"/>
              </a:solidFill>
              <a:effectLst/>
              <a:uLnTx/>
              <a:uFillTx/>
            </a:endParaRPr>
          </a:p>
        </p:txBody>
      </p:sp>
      <p:sp>
        <p:nvSpPr>
          <p:cNvPr id="154" name="Rectangle 18"/>
          <p:cNvSpPr>
            <a:spLocks noChangeArrowheads="1"/>
          </p:cNvSpPr>
          <p:nvPr/>
        </p:nvSpPr>
        <p:spPr bwMode="gray">
          <a:xfrm>
            <a:off x="2143108" y="5286388"/>
            <a:ext cx="1920719" cy="3139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这里输入文本信息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5" name="Rectangle 11"/>
          <p:cNvSpPr>
            <a:spLocks noChangeArrowheads="1"/>
          </p:cNvSpPr>
          <p:nvPr/>
        </p:nvSpPr>
        <p:spPr bwMode="white">
          <a:xfrm>
            <a:off x="5072066" y="1928802"/>
            <a:ext cx="2857520" cy="9233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67412">
                    <a:lumMod val="25000"/>
                  </a:srgbClr>
                </a:solidFill>
                <a:effectLst/>
                <a:uLnTx/>
                <a:uFillTx/>
              </a:rPr>
              <a:t>这里输入文本信息</a:t>
            </a:r>
            <a:endParaRPr kumimoji="0" lang="en-US" altLang="zh-CN" sz="1800" b="0" i="0" u="none" strike="noStrike" kern="0" cap="none" spc="0" normalizeH="0" baseline="0" noProof="0" dirty="0" smtClean="0">
              <a:ln>
                <a:noFill/>
              </a:ln>
              <a:solidFill>
                <a:srgbClr val="F67412">
                  <a:lumMod val="25000"/>
                </a:srgbClr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67412">
                    <a:lumMod val="25000"/>
                  </a:srgbClr>
                </a:solidFill>
                <a:effectLst/>
                <a:uLnTx/>
                <a:uFillTx/>
              </a:rPr>
              <a:t>这里输入文本信息</a:t>
            </a:r>
            <a:endParaRPr kumimoji="0" lang="en-US" altLang="zh-CN" sz="1800" b="0" i="0" u="none" strike="noStrike" kern="0" cap="none" spc="0" normalizeH="0" baseline="0" noProof="0" dirty="0" smtClean="0">
              <a:ln>
                <a:noFill/>
              </a:ln>
              <a:solidFill>
                <a:srgbClr val="F67412">
                  <a:lumMod val="25000"/>
                </a:srgbClr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67412">
                    <a:lumMod val="25000"/>
                  </a:srgbClr>
                </a:solidFill>
                <a:effectLst/>
                <a:uLnTx/>
                <a:uFillTx/>
              </a:rPr>
              <a:t>这里输入文本信息</a:t>
            </a:r>
            <a:endParaRPr kumimoji="0" lang="en-US" altLang="zh-CN" sz="1800" b="1" i="0" u="none" strike="noStrike" kern="0" cap="none" spc="0" normalizeH="0" baseline="0" noProof="0" dirty="0">
              <a:ln>
                <a:noFill/>
              </a:ln>
              <a:solidFill>
                <a:srgbClr val="F67412">
                  <a:lumMod val="25000"/>
                </a:srgbClr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9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3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7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500"/>
                            </p:stCondLst>
                            <p:childTnLst>
                              <p:par>
                                <p:cTn id="2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1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000"/>
                            </p:stCondLst>
                            <p:childTnLst>
                              <p:par>
                                <p:cTn id="33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500"/>
                            </p:stCondLst>
                            <p:childTnLst>
                              <p:par>
                                <p:cTn id="40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42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0"/>
                            </p:stCondLst>
                            <p:childTnLst>
                              <p:par>
                                <p:cTn id="44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500"/>
                            </p:stCondLst>
                            <p:childTnLst>
                              <p:par>
                                <p:cTn id="51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3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6000"/>
                            </p:stCondLst>
                            <p:childTnLst>
                              <p:par>
                                <p:cTn id="5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7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6500"/>
                            </p:stCondLst>
                            <p:childTnLst>
                              <p:par>
                                <p:cTn id="5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1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7000"/>
                            </p:stCondLst>
                            <p:childTnLst>
                              <p:par>
                                <p:cTn id="6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5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7500"/>
                            </p:stCondLst>
                            <p:childTnLst>
                              <p:par>
                                <p:cTn id="67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10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10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8500"/>
                            </p:stCondLst>
                            <p:childTnLst>
                              <p:par>
                                <p:cTn id="72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10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10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6" grpId="0" animBg="1"/>
      <p:bldP spid="134" grpId="0" animBg="1"/>
      <p:bldP spid="145" grpId="0"/>
      <p:bldP spid="146" grpId="0"/>
      <p:bldP spid="147" grpId="0"/>
      <p:bldP spid="148" grpId="0"/>
      <p:bldP spid="149" grpId="0"/>
      <p:bldP spid="150" grpId="0"/>
      <p:bldP spid="151" grpId="0"/>
      <p:bldP spid="152" grpId="0"/>
      <p:bldP spid="153" grpId="0"/>
      <p:bldP spid="154" grpId="0"/>
      <p:bldP spid="155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矩形 46"/>
          <p:cNvSpPr>
            <a:spLocks noChangeArrowheads="1"/>
          </p:cNvSpPr>
          <p:nvPr/>
        </p:nvSpPr>
        <p:spPr bwMode="auto">
          <a:xfrm>
            <a:off x="2439920" y="1676400"/>
            <a:ext cx="4264160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20000"/>
              <a:defRPr/>
            </a:pPr>
            <a:r>
              <a:rPr lang="zh-CN" altLang="en-US" sz="2400" b="1" spc="300" dirty="0">
                <a:ln w="1270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rgbClr val="00B0F0"/>
                    </a:gs>
                    <a:gs pos="75000">
                      <a:srgbClr val="002774"/>
                    </a:gs>
                  </a:gsLst>
                  <a:lin ang="5400000"/>
                </a:gradFill>
                <a:effectLst>
                  <a:glow rad="45500">
                    <a:srgbClr val="00B0F0">
                      <a:alpha val="35000"/>
                    </a:srgbClr>
                  </a:glow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38" name="AutoShape 60"/>
          <p:cNvSpPr>
            <a:spLocks noChangeArrowheads="1"/>
          </p:cNvSpPr>
          <p:nvPr/>
        </p:nvSpPr>
        <p:spPr bwMode="auto">
          <a:xfrm rot="5400000">
            <a:off x="2862000" y="-78891"/>
            <a:ext cx="3420000" cy="8100000"/>
          </a:xfrm>
          <a:prstGeom prst="homePlate">
            <a:avLst>
              <a:gd name="adj" fmla="val 28135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9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845785" y="2911281"/>
            <a:ext cx="2340000" cy="1620000"/>
          </a:xfrm>
          <a:prstGeom prst="roundRect">
            <a:avLst>
              <a:gd name="adj" fmla="val 5304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FFCF01"/>
                </a:gs>
                <a:gs pos="100000">
                  <a:srgbClr val="E22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divot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0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white">
          <a:xfrm>
            <a:off x="3396997" y="2911281"/>
            <a:ext cx="2340000" cy="1620000"/>
          </a:xfrm>
          <a:prstGeom prst="roundRect">
            <a:avLst>
              <a:gd name="adj" fmla="val 7012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00DFF6"/>
                </a:gs>
                <a:gs pos="100000">
                  <a:srgbClr val="002774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divot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1" name="AutoShape 4"/>
          <p:cNvSpPr>
            <a:spLocks noChangeArrowheads="1"/>
          </p:cNvSpPr>
          <p:nvPr>
            <p:custDataLst>
              <p:tags r:id="rId3"/>
            </p:custDataLst>
          </p:nvPr>
        </p:nvSpPr>
        <p:spPr bwMode="white">
          <a:xfrm>
            <a:off x="5948208" y="2911281"/>
            <a:ext cx="2340000" cy="1620000"/>
          </a:xfrm>
          <a:prstGeom prst="roundRect">
            <a:avLst>
              <a:gd name="adj" fmla="val 4784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6EFF01"/>
                </a:gs>
                <a:gs pos="100000">
                  <a:srgbClr val="0F5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divot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" name="矩形 46"/>
          <p:cNvSpPr>
            <a:spLocks noChangeArrowheads="1"/>
          </p:cNvSpPr>
          <p:nvPr/>
        </p:nvSpPr>
        <p:spPr bwMode="auto">
          <a:xfrm>
            <a:off x="3004690" y="4930772"/>
            <a:ext cx="3107689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点击添加标题</a:t>
            </a:r>
          </a:p>
        </p:txBody>
      </p:sp>
      <p:sp>
        <p:nvSpPr>
          <p:cNvPr id="43" name="AutoShape 3"/>
          <p:cNvSpPr>
            <a:spLocks noChangeArrowheads="1"/>
          </p:cNvSpPr>
          <p:nvPr/>
        </p:nvSpPr>
        <p:spPr bwMode="auto">
          <a:xfrm>
            <a:off x="3756997" y="2544236"/>
            <a:ext cx="1620000" cy="504000"/>
          </a:xfrm>
          <a:prstGeom prst="roundRect">
            <a:avLst/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prst="convex"/>
            <a:bevelB w="0" h="0"/>
            <a:contourClr>
              <a:srgbClr val="AFEAFF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" name="TextBox 43"/>
          <p:cNvSpPr txBox="1"/>
          <p:nvPr/>
        </p:nvSpPr>
        <p:spPr bwMode="auto">
          <a:xfrm>
            <a:off x="3849600" y="2610446"/>
            <a:ext cx="1434795" cy="374571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分标题二</a:t>
            </a:r>
          </a:p>
        </p:txBody>
      </p:sp>
      <p:sp>
        <p:nvSpPr>
          <p:cNvPr id="45" name="AutoShape 3"/>
          <p:cNvSpPr>
            <a:spLocks noChangeArrowheads="1"/>
          </p:cNvSpPr>
          <p:nvPr/>
        </p:nvSpPr>
        <p:spPr bwMode="auto">
          <a:xfrm>
            <a:off x="6308208" y="2544236"/>
            <a:ext cx="1620000" cy="504000"/>
          </a:xfrm>
          <a:prstGeom prst="roundRect">
            <a:avLst/>
          </a:prstGeom>
          <a:gradFill flip="none" rotWithShape="1">
            <a:gsLst>
              <a:gs pos="0">
                <a:srgbClr val="6EFF01"/>
              </a:gs>
              <a:gs pos="90000">
                <a:srgbClr val="0F5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prst="convex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6" name="TextBox 45"/>
          <p:cNvSpPr txBox="1"/>
          <p:nvPr/>
        </p:nvSpPr>
        <p:spPr bwMode="auto">
          <a:xfrm>
            <a:off x="6412719" y="2623083"/>
            <a:ext cx="1410979" cy="374571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分标题三</a:t>
            </a:r>
          </a:p>
        </p:txBody>
      </p:sp>
      <p:sp>
        <p:nvSpPr>
          <p:cNvPr id="47" name="AutoShape 3"/>
          <p:cNvSpPr>
            <a:spLocks noChangeArrowheads="1"/>
          </p:cNvSpPr>
          <p:nvPr/>
        </p:nvSpPr>
        <p:spPr bwMode="auto">
          <a:xfrm>
            <a:off x="1205785" y="2544236"/>
            <a:ext cx="1620000" cy="504000"/>
          </a:xfrm>
          <a:prstGeom prst="round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zh-CN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8" name="TextBox 47"/>
          <p:cNvSpPr txBox="1"/>
          <p:nvPr/>
        </p:nvSpPr>
        <p:spPr bwMode="auto">
          <a:xfrm>
            <a:off x="1325726" y="2610446"/>
            <a:ext cx="1380118" cy="374571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分标题一</a:t>
            </a:r>
            <a:endParaRPr lang="zh-CN" altLang="zh-CN" sz="1600" dirty="0">
              <a:solidFill>
                <a:schemeClr val="bg1"/>
              </a:solidFill>
              <a:effectLst>
                <a:reflection blurRad="6350" stA="50000" endA="300" endPos="50000" dist="60007" dir="5400000" sy="-100000" algn="bl" rotWithShape="0"/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9" name="矩形 48"/>
          <p:cNvSpPr/>
          <p:nvPr/>
        </p:nvSpPr>
        <p:spPr>
          <a:xfrm>
            <a:off x="879475" y="3212606"/>
            <a:ext cx="2273300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 spc="50" dirty="0">
              <a:ln w="11430"/>
              <a:latin typeface="微软雅黑" pitchFamily="34" charset="-122"/>
              <a:ea typeface="微软雅黑" pitchFamily="34" charset="-122"/>
            </a:endParaRPr>
          </a:p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50" name="矩形 49"/>
          <p:cNvSpPr/>
          <p:nvPr/>
        </p:nvSpPr>
        <p:spPr>
          <a:xfrm>
            <a:off x="879475" y="3777756"/>
            <a:ext cx="2273300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 spc="50" dirty="0">
              <a:ln w="11430"/>
              <a:latin typeface="微软雅黑" pitchFamily="34" charset="-122"/>
              <a:ea typeface="微软雅黑" pitchFamily="34" charset="-122"/>
            </a:endParaRPr>
          </a:p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51" name="矩形 50"/>
          <p:cNvSpPr/>
          <p:nvPr/>
        </p:nvSpPr>
        <p:spPr>
          <a:xfrm>
            <a:off x="3430588" y="3212606"/>
            <a:ext cx="2273300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 spc="50" dirty="0">
              <a:ln w="11430"/>
              <a:latin typeface="微软雅黑" pitchFamily="34" charset="-122"/>
              <a:ea typeface="微软雅黑" pitchFamily="34" charset="-122"/>
            </a:endParaRPr>
          </a:p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52" name="矩形 51"/>
          <p:cNvSpPr/>
          <p:nvPr/>
        </p:nvSpPr>
        <p:spPr>
          <a:xfrm>
            <a:off x="3430588" y="3777756"/>
            <a:ext cx="2273300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 spc="50" dirty="0">
              <a:ln w="11430"/>
              <a:latin typeface="微软雅黑" pitchFamily="34" charset="-122"/>
              <a:ea typeface="微软雅黑" pitchFamily="34" charset="-122"/>
            </a:endParaRPr>
          </a:p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53" name="矩形 52"/>
          <p:cNvSpPr/>
          <p:nvPr/>
        </p:nvSpPr>
        <p:spPr>
          <a:xfrm>
            <a:off x="5981700" y="3212606"/>
            <a:ext cx="2273300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 spc="50" dirty="0">
              <a:ln w="11430"/>
              <a:latin typeface="微软雅黑" pitchFamily="34" charset="-122"/>
              <a:ea typeface="微软雅黑" pitchFamily="34" charset="-122"/>
            </a:endParaRPr>
          </a:p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54" name="矩形 53"/>
          <p:cNvSpPr/>
          <p:nvPr/>
        </p:nvSpPr>
        <p:spPr>
          <a:xfrm>
            <a:off x="5981700" y="3777756"/>
            <a:ext cx="2273300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 spc="50" dirty="0">
              <a:ln w="11430"/>
              <a:latin typeface="微软雅黑" pitchFamily="34" charset="-122"/>
              <a:ea typeface="微软雅黑" pitchFamily="34" charset="-122"/>
            </a:endParaRPr>
          </a:p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0"/>
                            </p:stCondLst>
                            <p:childTnLst>
                              <p:par>
                                <p:cTn id="2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000"/>
                            </p:stCondLst>
                            <p:childTnLst>
                              <p:par>
                                <p:cTn id="28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900" decel="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000"/>
                            </p:stCondLst>
                            <p:childTnLst>
                              <p:par>
                                <p:cTn id="3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500"/>
                            </p:stCondLst>
                            <p:childTnLst>
                              <p:par>
                                <p:cTn id="3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4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0"/>
                            </p:stCondLst>
                            <p:childTnLst>
                              <p:par>
                                <p:cTn id="4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500"/>
                            </p:stCondLst>
                            <p:childTnLst>
                              <p:par>
                                <p:cTn id="4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6000"/>
                            </p:stCondLst>
                            <p:childTnLst>
                              <p:par>
                                <p:cTn id="51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900" decel="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7000"/>
                            </p:stCondLst>
                            <p:childTnLst>
                              <p:par>
                                <p:cTn id="5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7500"/>
                            </p:stCondLst>
                            <p:childTnLst>
                              <p:par>
                                <p:cTn id="62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6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8000"/>
                            </p:stCondLst>
                            <p:childTnLst>
                              <p:par>
                                <p:cTn id="6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8500"/>
                            </p:stCondLst>
                            <p:childTnLst>
                              <p:par>
                                <p:cTn id="7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9000"/>
                            </p:stCondLst>
                            <p:childTnLst>
                              <p:par>
                                <p:cTn id="7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10000"/>
                            </p:stCondLst>
                            <p:childTnLst>
                              <p:par>
                                <p:cTn id="7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900" decel="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11000"/>
                            </p:stCondLst>
                            <p:childTnLst>
                              <p:par>
                                <p:cTn id="86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  <p:bldP spid="38" grpId="0" animBg="1"/>
      <p:bldP spid="39" grpId="0" animBg="1"/>
      <p:bldP spid="40" grpId="0" animBg="1"/>
      <p:bldP spid="41" grpId="0" animBg="1"/>
      <p:bldP spid="42" grpId="0"/>
      <p:bldP spid="43" grpId="0" animBg="1"/>
      <p:bldP spid="44" grpId="0"/>
      <p:bldP spid="45" grpId="0" animBg="1"/>
      <p:bldP spid="46" grpId="0"/>
      <p:bldP spid="47" grpId="0" animBg="1"/>
      <p:bldP spid="48" grpId="0"/>
      <p:bldP spid="49" grpId="0"/>
      <p:bldP spid="50" grpId="0"/>
      <p:bldP spid="51" grpId="0"/>
      <p:bldP spid="52" grpId="0"/>
      <p:bldP spid="53" grpId="0"/>
      <p:bldP spid="54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Freeform 3"/>
          <p:cNvSpPr>
            <a:spLocks/>
          </p:cNvSpPr>
          <p:nvPr/>
        </p:nvSpPr>
        <p:spPr bwMode="auto">
          <a:xfrm>
            <a:off x="1068388" y="2586038"/>
            <a:ext cx="7243762" cy="2241550"/>
          </a:xfrm>
          <a:custGeom>
            <a:avLst/>
            <a:gdLst>
              <a:gd name="T0" fmla="*/ 0 w 5424"/>
              <a:gd name="T1" fmla="*/ 0 h 1488"/>
              <a:gd name="T2" fmla="*/ 5424 w 5424"/>
              <a:gd name="T3" fmla="*/ 1488 h 1488"/>
            </a:gdLst>
            <a:ahLst/>
            <a:cxnLst>
              <a:cxn ang="0">
                <a:pos x="0" y="1440"/>
              </a:cxn>
              <a:cxn ang="0">
                <a:pos x="0" y="1488"/>
              </a:cxn>
              <a:cxn ang="0">
                <a:pos x="1152" y="1488"/>
              </a:cxn>
              <a:cxn ang="0">
                <a:pos x="1392" y="1008"/>
              </a:cxn>
              <a:cxn ang="0">
                <a:pos x="2544" y="1008"/>
              </a:cxn>
              <a:cxn ang="0">
                <a:pos x="2832" y="528"/>
              </a:cxn>
              <a:cxn ang="0">
                <a:pos x="3984" y="528"/>
              </a:cxn>
              <a:cxn ang="0">
                <a:pos x="4272" y="48"/>
              </a:cxn>
              <a:cxn ang="0">
                <a:pos x="5424" y="48"/>
              </a:cxn>
              <a:cxn ang="0">
                <a:pos x="5424" y="0"/>
              </a:cxn>
              <a:cxn ang="0">
                <a:pos x="4272" y="0"/>
              </a:cxn>
              <a:cxn ang="0">
                <a:pos x="3984" y="480"/>
              </a:cxn>
              <a:cxn ang="0">
                <a:pos x="2832" y="480"/>
              </a:cxn>
              <a:cxn ang="0">
                <a:pos x="2544" y="960"/>
              </a:cxn>
              <a:cxn ang="0">
                <a:pos x="1392" y="960"/>
              </a:cxn>
              <a:cxn ang="0">
                <a:pos x="1152" y="1440"/>
              </a:cxn>
              <a:cxn ang="0">
                <a:pos x="0" y="1440"/>
              </a:cxn>
            </a:cxnLst>
            <a:rect l="T0" t="T1" r="T2" b="T3"/>
            <a:pathLst>
              <a:path w="5424" h="1488">
                <a:moveTo>
                  <a:pt x="0" y="1440"/>
                </a:moveTo>
                <a:lnTo>
                  <a:pt x="0" y="1488"/>
                </a:lnTo>
                <a:lnTo>
                  <a:pt x="1152" y="1488"/>
                </a:lnTo>
                <a:lnTo>
                  <a:pt x="1392" y="1008"/>
                </a:lnTo>
                <a:lnTo>
                  <a:pt x="2544" y="1008"/>
                </a:lnTo>
                <a:lnTo>
                  <a:pt x="2832" y="528"/>
                </a:lnTo>
                <a:lnTo>
                  <a:pt x="3984" y="528"/>
                </a:lnTo>
                <a:lnTo>
                  <a:pt x="4272" y="48"/>
                </a:lnTo>
                <a:lnTo>
                  <a:pt x="5424" y="48"/>
                </a:lnTo>
                <a:lnTo>
                  <a:pt x="5424" y="0"/>
                </a:lnTo>
                <a:lnTo>
                  <a:pt x="4272" y="0"/>
                </a:lnTo>
                <a:lnTo>
                  <a:pt x="3984" y="480"/>
                </a:lnTo>
                <a:lnTo>
                  <a:pt x="2832" y="480"/>
                </a:lnTo>
                <a:lnTo>
                  <a:pt x="2544" y="960"/>
                </a:lnTo>
                <a:lnTo>
                  <a:pt x="1392" y="960"/>
                </a:lnTo>
                <a:lnTo>
                  <a:pt x="1152" y="1440"/>
                </a:lnTo>
                <a:lnTo>
                  <a:pt x="0" y="1440"/>
                </a:lnTo>
                <a:close/>
              </a:path>
            </a:pathLst>
          </a:custGeom>
          <a:solidFill>
            <a:schemeClr val="accent1"/>
          </a:solidFill>
          <a:ln w="9525" cap="flat" cmpd="sng">
            <a:round/>
            <a:headEnd/>
            <a:tailEnd/>
          </a:ln>
          <a:effectLst/>
          <a:scene3d>
            <a:camera prst="legacyPerspectiveTop"/>
            <a:lightRig rig="legacyNormal3" dir="r"/>
          </a:scene3d>
          <a:sp3d extrusionH="1801800" prstMaterial="legacyPlastic">
            <a:bevelT w="13500" h="13500" prst="angle"/>
            <a:bevelB w="13500" h="13500" prst="angle"/>
            <a:extrusionClr>
              <a:schemeClr val="accent1"/>
            </a:extrusionClr>
          </a:sp3d>
        </p:spPr>
        <p:txBody>
          <a:bodyPr>
            <a:flatTx/>
          </a:bodyPr>
          <a:lstStyle/>
          <a:p>
            <a:endParaRPr lang="zh-CN" altLang="en-US"/>
          </a:p>
        </p:txBody>
      </p:sp>
      <p:grpSp>
        <p:nvGrpSpPr>
          <p:cNvPr id="32771" name="Group 3"/>
          <p:cNvGrpSpPr>
            <a:grpSpLocks/>
          </p:cNvGrpSpPr>
          <p:nvPr/>
        </p:nvGrpSpPr>
        <p:grpSpPr bwMode="auto">
          <a:xfrm>
            <a:off x="1581150" y="3675063"/>
            <a:ext cx="1025525" cy="946150"/>
            <a:chOff x="0" y="0"/>
            <a:chExt cx="860" cy="796"/>
          </a:xfrm>
        </p:grpSpPr>
        <p:sp>
          <p:nvSpPr>
            <p:cNvPr id="32772" name="Freeform 5"/>
            <p:cNvSpPr>
              <a:spLocks/>
            </p:cNvSpPr>
            <p:nvPr/>
          </p:nvSpPr>
          <p:spPr bwMode="auto">
            <a:xfrm>
              <a:off x="85" y="613"/>
              <a:ext cx="335" cy="173"/>
            </a:xfrm>
            <a:custGeom>
              <a:avLst/>
              <a:gdLst>
                <a:gd name="T0" fmla="*/ 0 w 335"/>
                <a:gd name="T1" fmla="*/ 0 h 173"/>
                <a:gd name="T2" fmla="*/ 335 w 335"/>
                <a:gd name="T3" fmla="*/ 173 h 173"/>
              </a:gdLst>
              <a:ahLst/>
              <a:cxnLst>
                <a:cxn ang="0">
                  <a:pos x="0" y="166"/>
                </a:cxn>
                <a:cxn ang="0">
                  <a:pos x="58" y="173"/>
                </a:cxn>
                <a:cxn ang="0">
                  <a:pos x="297" y="32"/>
                </a:cxn>
                <a:cxn ang="0">
                  <a:pos x="289" y="8"/>
                </a:cxn>
                <a:cxn ang="0">
                  <a:pos x="223" y="26"/>
                </a:cxn>
                <a:cxn ang="0">
                  <a:pos x="0" y="166"/>
                </a:cxn>
              </a:cxnLst>
              <a:rect l="T0" t="T1" r="T2" b="T3"/>
              <a:pathLst>
                <a:path w="335" h="173">
                  <a:moveTo>
                    <a:pt x="0" y="166"/>
                  </a:moveTo>
                  <a:lnTo>
                    <a:pt x="58" y="173"/>
                  </a:lnTo>
                  <a:lnTo>
                    <a:pt x="297" y="32"/>
                  </a:lnTo>
                  <a:cubicBezTo>
                    <a:pt x="335" y="5"/>
                    <a:pt x="301" y="9"/>
                    <a:pt x="289" y="8"/>
                  </a:cubicBezTo>
                  <a:cubicBezTo>
                    <a:pt x="277" y="7"/>
                    <a:pt x="271" y="0"/>
                    <a:pt x="223" y="26"/>
                  </a:cubicBezTo>
                  <a:lnTo>
                    <a:pt x="0" y="166"/>
                  </a:lnTo>
                  <a:close/>
                </a:path>
              </a:pathLst>
            </a:custGeom>
            <a:gradFill rotWithShape="1">
              <a:gsLst>
                <a:gs pos="0">
                  <a:srgbClr val="181818">
                    <a:alpha val="0"/>
                  </a:srgbClr>
                </a:gs>
                <a:gs pos="100000">
                  <a:srgbClr val="1C1C1C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2773" name="Freeform 6"/>
            <p:cNvSpPr>
              <a:spLocks/>
            </p:cNvSpPr>
            <p:nvPr/>
          </p:nvSpPr>
          <p:spPr bwMode="auto">
            <a:xfrm>
              <a:off x="315" y="550"/>
              <a:ext cx="367" cy="170"/>
            </a:xfrm>
            <a:custGeom>
              <a:avLst/>
              <a:gdLst>
                <a:gd name="T0" fmla="*/ 0 w 367"/>
                <a:gd name="T1" fmla="*/ 0 h 170"/>
                <a:gd name="T2" fmla="*/ 367 w 367"/>
                <a:gd name="T3" fmla="*/ 170 h 170"/>
              </a:gdLst>
              <a:ahLst/>
              <a:cxnLst>
                <a:cxn ang="0">
                  <a:pos x="0" y="158"/>
                </a:cxn>
                <a:cxn ang="0">
                  <a:pos x="80" y="170"/>
                </a:cxn>
                <a:cxn ang="0">
                  <a:pos x="332" y="37"/>
                </a:cxn>
                <a:cxn ang="0">
                  <a:pos x="292" y="1"/>
                </a:cxn>
                <a:cxn ang="0">
                  <a:pos x="230" y="29"/>
                </a:cxn>
                <a:cxn ang="0">
                  <a:pos x="0" y="158"/>
                </a:cxn>
              </a:cxnLst>
              <a:rect l="T0" t="T1" r="T2" b="T3"/>
              <a:pathLst>
                <a:path w="367" h="170">
                  <a:moveTo>
                    <a:pt x="0" y="158"/>
                  </a:moveTo>
                  <a:lnTo>
                    <a:pt x="80" y="170"/>
                  </a:lnTo>
                  <a:lnTo>
                    <a:pt x="332" y="37"/>
                  </a:lnTo>
                  <a:cubicBezTo>
                    <a:pt x="367" y="9"/>
                    <a:pt x="309" y="2"/>
                    <a:pt x="292" y="1"/>
                  </a:cubicBezTo>
                  <a:cubicBezTo>
                    <a:pt x="280" y="0"/>
                    <a:pt x="279" y="3"/>
                    <a:pt x="230" y="29"/>
                  </a:cubicBezTo>
                  <a:lnTo>
                    <a:pt x="0" y="158"/>
                  </a:lnTo>
                  <a:close/>
                </a:path>
              </a:pathLst>
            </a:custGeom>
            <a:gradFill rotWithShape="1">
              <a:gsLst>
                <a:gs pos="0">
                  <a:srgbClr val="181818">
                    <a:alpha val="0"/>
                  </a:srgbClr>
                </a:gs>
                <a:gs pos="100000">
                  <a:srgbClr val="1C1C1C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2774" name="Freeform 7"/>
            <p:cNvSpPr>
              <a:spLocks/>
            </p:cNvSpPr>
            <p:nvPr/>
          </p:nvSpPr>
          <p:spPr bwMode="auto">
            <a:xfrm>
              <a:off x="553" y="653"/>
              <a:ext cx="307" cy="143"/>
            </a:xfrm>
            <a:custGeom>
              <a:avLst/>
              <a:gdLst>
                <a:gd name="T0" fmla="*/ 0 w 307"/>
                <a:gd name="T1" fmla="*/ 0 h 143"/>
                <a:gd name="T2" fmla="*/ 307 w 307"/>
                <a:gd name="T3" fmla="*/ 143 h 143"/>
              </a:gdLst>
              <a:ahLst/>
              <a:cxnLst>
                <a:cxn ang="0">
                  <a:pos x="0" y="134"/>
                </a:cxn>
                <a:cxn ang="0">
                  <a:pos x="66" y="143"/>
                </a:cxn>
                <a:cxn ang="0">
                  <a:pos x="282" y="35"/>
                </a:cxn>
                <a:cxn ang="0">
                  <a:pos x="219" y="17"/>
                </a:cxn>
                <a:cxn ang="0">
                  <a:pos x="0" y="134"/>
                </a:cxn>
              </a:cxnLst>
              <a:rect l="T0" t="T1" r="T2" b="T3"/>
              <a:pathLst>
                <a:path w="307" h="143">
                  <a:moveTo>
                    <a:pt x="0" y="134"/>
                  </a:moveTo>
                  <a:lnTo>
                    <a:pt x="66" y="143"/>
                  </a:lnTo>
                  <a:lnTo>
                    <a:pt x="282" y="35"/>
                  </a:lnTo>
                  <a:cubicBezTo>
                    <a:pt x="307" y="14"/>
                    <a:pt x="266" y="0"/>
                    <a:pt x="219" y="17"/>
                  </a:cubicBezTo>
                  <a:lnTo>
                    <a:pt x="0" y="134"/>
                  </a:lnTo>
                  <a:close/>
                </a:path>
              </a:pathLst>
            </a:custGeom>
            <a:gradFill rotWithShape="1">
              <a:gsLst>
                <a:gs pos="0">
                  <a:srgbClr val="181818">
                    <a:alpha val="0"/>
                  </a:srgbClr>
                </a:gs>
                <a:gs pos="100000">
                  <a:srgbClr val="1C1C1C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2775" name="Freeform 8"/>
            <p:cNvSpPr>
              <a:spLocks/>
            </p:cNvSpPr>
            <p:nvPr/>
          </p:nvSpPr>
          <p:spPr bwMode="auto">
            <a:xfrm>
              <a:off x="0" y="215"/>
              <a:ext cx="224" cy="569"/>
            </a:xfrm>
            <a:custGeom>
              <a:avLst/>
              <a:gdLst>
                <a:gd name="T0" fmla="*/ 0 w 224"/>
                <a:gd name="T1" fmla="*/ 0 h 569"/>
                <a:gd name="T2" fmla="*/ 224 w 224"/>
                <a:gd name="T3" fmla="*/ 569 h 569"/>
              </a:gdLst>
              <a:ahLst/>
              <a:cxnLst>
                <a:cxn ang="0">
                  <a:pos x="103" y="101"/>
                </a:cxn>
                <a:cxn ang="0">
                  <a:pos x="74" y="50"/>
                </a:cxn>
                <a:cxn ang="0">
                  <a:pos x="121" y="1"/>
                </a:cxn>
                <a:cxn ang="0">
                  <a:pos x="171" y="52"/>
                </a:cxn>
                <a:cxn ang="0">
                  <a:pos x="135" y="101"/>
                </a:cxn>
                <a:cxn ang="0">
                  <a:pos x="134" y="124"/>
                </a:cxn>
                <a:cxn ang="0">
                  <a:pos x="209" y="145"/>
                </a:cxn>
                <a:cxn ang="0">
                  <a:pos x="221" y="204"/>
                </a:cxn>
                <a:cxn ang="0">
                  <a:pos x="218" y="321"/>
                </a:cxn>
                <a:cxn ang="0">
                  <a:pos x="209" y="365"/>
                </a:cxn>
                <a:cxn ang="0">
                  <a:pos x="196" y="308"/>
                </a:cxn>
                <a:cxn ang="0">
                  <a:pos x="187" y="202"/>
                </a:cxn>
                <a:cxn ang="0">
                  <a:pos x="170" y="321"/>
                </a:cxn>
                <a:cxn ang="0">
                  <a:pos x="144" y="569"/>
                </a:cxn>
                <a:cxn ang="0">
                  <a:pos x="78" y="565"/>
                </a:cxn>
                <a:cxn ang="0">
                  <a:pos x="50" y="325"/>
                </a:cxn>
                <a:cxn ang="0">
                  <a:pos x="33" y="208"/>
                </a:cxn>
                <a:cxn ang="0">
                  <a:pos x="25" y="310"/>
                </a:cxn>
                <a:cxn ang="0">
                  <a:pos x="12" y="365"/>
                </a:cxn>
                <a:cxn ang="0">
                  <a:pos x="1" y="305"/>
                </a:cxn>
                <a:cxn ang="0">
                  <a:pos x="7" y="184"/>
                </a:cxn>
                <a:cxn ang="0">
                  <a:pos x="23" y="140"/>
                </a:cxn>
                <a:cxn ang="0">
                  <a:pos x="102" y="124"/>
                </a:cxn>
                <a:cxn ang="0">
                  <a:pos x="103" y="101"/>
                </a:cxn>
              </a:cxnLst>
              <a:rect l="T0" t="T1" r="T2" b="T3"/>
              <a:pathLst>
                <a:path w="224" h="569">
                  <a:moveTo>
                    <a:pt x="103" y="101"/>
                  </a:moveTo>
                  <a:cubicBezTo>
                    <a:pt x="87" y="94"/>
                    <a:pt x="75" y="75"/>
                    <a:pt x="74" y="50"/>
                  </a:cubicBezTo>
                  <a:cubicBezTo>
                    <a:pt x="72" y="26"/>
                    <a:pt x="90" y="0"/>
                    <a:pt x="121" y="1"/>
                  </a:cubicBezTo>
                  <a:cubicBezTo>
                    <a:pt x="152" y="2"/>
                    <a:pt x="172" y="18"/>
                    <a:pt x="171" y="52"/>
                  </a:cubicBezTo>
                  <a:cubicBezTo>
                    <a:pt x="170" y="85"/>
                    <a:pt x="151" y="96"/>
                    <a:pt x="135" y="101"/>
                  </a:cubicBezTo>
                  <a:cubicBezTo>
                    <a:pt x="132" y="111"/>
                    <a:pt x="132" y="118"/>
                    <a:pt x="134" y="124"/>
                  </a:cubicBezTo>
                  <a:cubicBezTo>
                    <a:pt x="151" y="131"/>
                    <a:pt x="194" y="132"/>
                    <a:pt x="209" y="145"/>
                  </a:cubicBezTo>
                  <a:cubicBezTo>
                    <a:pt x="224" y="156"/>
                    <a:pt x="219" y="175"/>
                    <a:pt x="221" y="204"/>
                  </a:cubicBezTo>
                  <a:lnTo>
                    <a:pt x="218" y="321"/>
                  </a:lnTo>
                  <a:cubicBezTo>
                    <a:pt x="216" y="348"/>
                    <a:pt x="212" y="367"/>
                    <a:pt x="209" y="365"/>
                  </a:cubicBezTo>
                  <a:cubicBezTo>
                    <a:pt x="199" y="370"/>
                    <a:pt x="200" y="335"/>
                    <a:pt x="196" y="308"/>
                  </a:cubicBezTo>
                  <a:lnTo>
                    <a:pt x="187" y="202"/>
                  </a:lnTo>
                  <a:cubicBezTo>
                    <a:pt x="182" y="204"/>
                    <a:pt x="177" y="260"/>
                    <a:pt x="170" y="321"/>
                  </a:cubicBezTo>
                  <a:lnTo>
                    <a:pt x="144" y="569"/>
                  </a:lnTo>
                  <a:lnTo>
                    <a:pt x="78" y="565"/>
                  </a:lnTo>
                  <a:lnTo>
                    <a:pt x="50" y="325"/>
                  </a:lnTo>
                  <a:cubicBezTo>
                    <a:pt x="39" y="255"/>
                    <a:pt x="37" y="211"/>
                    <a:pt x="33" y="208"/>
                  </a:cubicBezTo>
                  <a:lnTo>
                    <a:pt x="25" y="310"/>
                  </a:lnTo>
                  <a:cubicBezTo>
                    <a:pt x="22" y="336"/>
                    <a:pt x="16" y="366"/>
                    <a:pt x="12" y="365"/>
                  </a:cubicBezTo>
                  <a:cubicBezTo>
                    <a:pt x="4" y="365"/>
                    <a:pt x="2" y="335"/>
                    <a:pt x="1" y="305"/>
                  </a:cubicBezTo>
                  <a:cubicBezTo>
                    <a:pt x="0" y="275"/>
                    <a:pt x="3" y="212"/>
                    <a:pt x="7" y="184"/>
                  </a:cubicBezTo>
                  <a:cubicBezTo>
                    <a:pt x="12" y="157"/>
                    <a:pt x="7" y="150"/>
                    <a:pt x="23" y="140"/>
                  </a:cubicBezTo>
                  <a:cubicBezTo>
                    <a:pt x="39" y="131"/>
                    <a:pt x="89" y="131"/>
                    <a:pt x="102" y="124"/>
                  </a:cubicBezTo>
                  <a:cubicBezTo>
                    <a:pt x="106" y="120"/>
                    <a:pt x="108" y="108"/>
                    <a:pt x="103" y="101"/>
                  </a:cubicBez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767676"/>
                </a:gs>
              </a:gsLst>
              <a:lin ang="5400000" scaled="1"/>
            </a:gradFill>
            <a:ln w="9525" cap="flat" cmpd="sng">
              <a:round/>
              <a:headEnd/>
              <a:tailEnd/>
            </a:ln>
            <a:effectLst/>
            <a:scene3d>
              <a:camera prst="legacyPerspectiveTopRight">
                <a:rot lat="0" lon="899997" rev="0"/>
              </a:camera>
              <a:lightRig rig="legacyFlat1" dir="t"/>
            </a:scene3d>
            <a:sp3d extrusionH="36500" prstMaterial="legacyMatte">
              <a:bevelT w="13500" h="13500" prst="angle"/>
              <a:bevelB w="13500" h="13500" prst="angle"/>
              <a:extrusionClr>
                <a:srgbClr val="333333"/>
              </a:extrusionClr>
            </a:sp3d>
          </p:spPr>
          <p:txBody>
            <a:bodyPr>
              <a:flatTx/>
            </a:bodyPr>
            <a:lstStyle/>
            <a:p>
              <a:endParaRPr lang="zh-CN" altLang="en-US"/>
            </a:p>
          </p:txBody>
        </p:sp>
        <p:sp>
          <p:nvSpPr>
            <p:cNvPr id="32776" name="Freeform 9"/>
            <p:cNvSpPr>
              <a:spLocks/>
            </p:cNvSpPr>
            <p:nvPr/>
          </p:nvSpPr>
          <p:spPr bwMode="auto">
            <a:xfrm>
              <a:off x="216" y="0"/>
              <a:ext cx="282" cy="716"/>
            </a:xfrm>
            <a:custGeom>
              <a:avLst/>
              <a:gdLst>
                <a:gd name="T0" fmla="*/ 0 w 224"/>
                <a:gd name="T1" fmla="*/ 0 h 569"/>
                <a:gd name="T2" fmla="*/ 224 w 224"/>
                <a:gd name="T3" fmla="*/ 569 h 569"/>
              </a:gdLst>
              <a:ahLst/>
              <a:cxnLst>
                <a:cxn ang="0">
                  <a:pos x="103" y="101"/>
                </a:cxn>
                <a:cxn ang="0">
                  <a:pos x="74" y="50"/>
                </a:cxn>
                <a:cxn ang="0">
                  <a:pos x="121" y="1"/>
                </a:cxn>
                <a:cxn ang="0">
                  <a:pos x="171" y="52"/>
                </a:cxn>
                <a:cxn ang="0">
                  <a:pos x="135" y="101"/>
                </a:cxn>
                <a:cxn ang="0">
                  <a:pos x="134" y="124"/>
                </a:cxn>
                <a:cxn ang="0">
                  <a:pos x="209" y="145"/>
                </a:cxn>
                <a:cxn ang="0">
                  <a:pos x="221" y="204"/>
                </a:cxn>
                <a:cxn ang="0">
                  <a:pos x="218" y="321"/>
                </a:cxn>
                <a:cxn ang="0">
                  <a:pos x="209" y="365"/>
                </a:cxn>
                <a:cxn ang="0">
                  <a:pos x="196" y="308"/>
                </a:cxn>
                <a:cxn ang="0">
                  <a:pos x="187" y="202"/>
                </a:cxn>
                <a:cxn ang="0">
                  <a:pos x="170" y="321"/>
                </a:cxn>
                <a:cxn ang="0">
                  <a:pos x="144" y="569"/>
                </a:cxn>
                <a:cxn ang="0">
                  <a:pos x="78" y="565"/>
                </a:cxn>
                <a:cxn ang="0">
                  <a:pos x="50" y="325"/>
                </a:cxn>
                <a:cxn ang="0">
                  <a:pos x="33" y="208"/>
                </a:cxn>
                <a:cxn ang="0">
                  <a:pos x="25" y="310"/>
                </a:cxn>
                <a:cxn ang="0">
                  <a:pos x="12" y="365"/>
                </a:cxn>
                <a:cxn ang="0">
                  <a:pos x="1" y="305"/>
                </a:cxn>
                <a:cxn ang="0">
                  <a:pos x="7" y="184"/>
                </a:cxn>
                <a:cxn ang="0">
                  <a:pos x="23" y="140"/>
                </a:cxn>
                <a:cxn ang="0">
                  <a:pos x="102" y="124"/>
                </a:cxn>
                <a:cxn ang="0">
                  <a:pos x="103" y="101"/>
                </a:cxn>
              </a:cxnLst>
              <a:rect l="T0" t="T1" r="T2" b="T3"/>
              <a:pathLst>
                <a:path w="224" h="569">
                  <a:moveTo>
                    <a:pt x="103" y="101"/>
                  </a:moveTo>
                  <a:cubicBezTo>
                    <a:pt x="87" y="94"/>
                    <a:pt x="75" y="75"/>
                    <a:pt x="74" y="50"/>
                  </a:cubicBezTo>
                  <a:cubicBezTo>
                    <a:pt x="72" y="26"/>
                    <a:pt x="90" y="0"/>
                    <a:pt x="121" y="1"/>
                  </a:cubicBezTo>
                  <a:cubicBezTo>
                    <a:pt x="152" y="2"/>
                    <a:pt x="172" y="18"/>
                    <a:pt x="171" y="52"/>
                  </a:cubicBezTo>
                  <a:cubicBezTo>
                    <a:pt x="170" y="85"/>
                    <a:pt x="151" y="96"/>
                    <a:pt x="135" y="101"/>
                  </a:cubicBezTo>
                  <a:cubicBezTo>
                    <a:pt x="132" y="111"/>
                    <a:pt x="132" y="118"/>
                    <a:pt x="134" y="124"/>
                  </a:cubicBezTo>
                  <a:cubicBezTo>
                    <a:pt x="151" y="131"/>
                    <a:pt x="194" y="132"/>
                    <a:pt x="209" y="145"/>
                  </a:cubicBezTo>
                  <a:cubicBezTo>
                    <a:pt x="224" y="156"/>
                    <a:pt x="219" y="175"/>
                    <a:pt x="221" y="204"/>
                  </a:cubicBezTo>
                  <a:lnTo>
                    <a:pt x="218" y="321"/>
                  </a:lnTo>
                  <a:cubicBezTo>
                    <a:pt x="216" y="348"/>
                    <a:pt x="212" y="367"/>
                    <a:pt x="209" y="365"/>
                  </a:cubicBezTo>
                  <a:cubicBezTo>
                    <a:pt x="199" y="370"/>
                    <a:pt x="200" y="335"/>
                    <a:pt x="196" y="308"/>
                  </a:cubicBezTo>
                  <a:lnTo>
                    <a:pt x="187" y="202"/>
                  </a:lnTo>
                  <a:cubicBezTo>
                    <a:pt x="182" y="204"/>
                    <a:pt x="177" y="260"/>
                    <a:pt x="170" y="321"/>
                  </a:cubicBezTo>
                  <a:lnTo>
                    <a:pt x="144" y="569"/>
                  </a:lnTo>
                  <a:lnTo>
                    <a:pt x="78" y="565"/>
                  </a:lnTo>
                  <a:lnTo>
                    <a:pt x="50" y="325"/>
                  </a:lnTo>
                  <a:cubicBezTo>
                    <a:pt x="39" y="255"/>
                    <a:pt x="37" y="211"/>
                    <a:pt x="33" y="208"/>
                  </a:cubicBezTo>
                  <a:lnTo>
                    <a:pt x="25" y="310"/>
                  </a:lnTo>
                  <a:cubicBezTo>
                    <a:pt x="22" y="336"/>
                    <a:pt x="16" y="366"/>
                    <a:pt x="12" y="365"/>
                  </a:cubicBezTo>
                  <a:cubicBezTo>
                    <a:pt x="4" y="365"/>
                    <a:pt x="2" y="335"/>
                    <a:pt x="1" y="305"/>
                  </a:cubicBezTo>
                  <a:cubicBezTo>
                    <a:pt x="0" y="275"/>
                    <a:pt x="3" y="212"/>
                    <a:pt x="7" y="184"/>
                  </a:cubicBezTo>
                  <a:cubicBezTo>
                    <a:pt x="12" y="157"/>
                    <a:pt x="7" y="150"/>
                    <a:pt x="23" y="140"/>
                  </a:cubicBezTo>
                  <a:cubicBezTo>
                    <a:pt x="39" y="131"/>
                    <a:pt x="89" y="131"/>
                    <a:pt x="102" y="124"/>
                  </a:cubicBezTo>
                  <a:cubicBezTo>
                    <a:pt x="106" y="120"/>
                    <a:pt x="108" y="108"/>
                    <a:pt x="103" y="101"/>
                  </a:cubicBez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767676"/>
                </a:gs>
              </a:gsLst>
              <a:lin ang="5400000" scaled="1"/>
            </a:gradFill>
            <a:ln w="9525" cap="flat" cmpd="sng">
              <a:round/>
              <a:headEnd/>
              <a:tailEnd/>
            </a:ln>
            <a:effectLst/>
            <a:scene3d>
              <a:camera prst="legacyPerspectiveTopRight">
                <a:rot lat="0" lon="899997" rev="0"/>
              </a:camera>
              <a:lightRig rig="legacyFlat1" dir="t"/>
            </a:scene3d>
            <a:sp3d extrusionH="36500" prstMaterial="legacyMatte">
              <a:bevelT w="13500" h="13500" prst="angle"/>
              <a:bevelB w="13500" h="13500" prst="angle"/>
              <a:extrusionClr>
                <a:srgbClr val="333333"/>
              </a:extrusionClr>
            </a:sp3d>
          </p:spPr>
          <p:txBody>
            <a:bodyPr>
              <a:flatTx/>
            </a:bodyPr>
            <a:lstStyle/>
            <a:p>
              <a:endParaRPr lang="zh-CN" altLang="en-US"/>
            </a:p>
          </p:txBody>
        </p:sp>
        <p:sp>
          <p:nvSpPr>
            <p:cNvPr id="32777" name="Freeform 10"/>
            <p:cNvSpPr>
              <a:spLocks/>
            </p:cNvSpPr>
            <p:nvPr/>
          </p:nvSpPr>
          <p:spPr bwMode="auto">
            <a:xfrm>
              <a:off x="474" y="227"/>
              <a:ext cx="224" cy="569"/>
            </a:xfrm>
            <a:custGeom>
              <a:avLst/>
              <a:gdLst>
                <a:gd name="T0" fmla="*/ 0 w 224"/>
                <a:gd name="T1" fmla="*/ 0 h 569"/>
                <a:gd name="T2" fmla="*/ 224 w 224"/>
                <a:gd name="T3" fmla="*/ 569 h 569"/>
              </a:gdLst>
              <a:ahLst/>
              <a:cxnLst>
                <a:cxn ang="0">
                  <a:pos x="103" y="101"/>
                </a:cxn>
                <a:cxn ang="0">
                  <a:pos x="74" y="50"/>
                </a:cxn>
                <a:cxn ang="0">
                  <a:pos x="121" y="1"/>
                </a:cxn>
                <a:cxn ang="0">
                  <a:pos x="171" y="52"/>
                </a:cxn>
                <a:cxn ang="0">
                  <a:pos x="135" y="101"/>
                </a:cxn>
                <a:cxn ang="0">
                  <a:pos x="134" y="124"/>
                </a:cxn>
                <a:cxn ang="0">
                  <a:pos x="209" y="145"/>
                </a:cxn>
                <a:cxn ang="0">
                  <a:pos x="221" y="204"/>
                </a:cxn>
                <a:cxn ang="0">
                  <a:pos x="218" y="321"/>
                </a:cxn>
                <a:cxn ang="0">
                  <a:pos x="209" y="365"/>
                </a:cxn>
                <a:cxn ang="0">
                  <a:pos x="196" y="308"/>
                </a:cxn>
                <a:cxn ang="0">
                  <a:pos x="187" y="202"/>
                </a:cxn>
                <a:cxn ang="0">
                  <a:pos x="170" y="321"/>
                </a:cxn>
                <a:cxn ang="0">
                  <a:pos x="144" y="569"/>
                </a:cxn>
                <a:cxn ang="0">
                  <a:pos x="78" y="565"/>
                </a:cxn>
                <a:cxn ang="0">
                  <a:pos x="50" y="325"/>
                </a:cxn>
                <a:cxn ang="0">
                  <a:pos x="33" y="208"/>
                </a:cxn>
                <a:cxn ang="0">
                  <a:pos x="25" y="310"/>
                </a:cxn>
                <a:cxn ang="0">
                  <a:pos x="12" y="365"/>
                </a:cxn>
                <a:cxn ang="0">
                  <a:pos x="1" y="305"/>
                </a:cxn>
                <a:cxn ang="0">
                  <a:pos x="7" y="184"/>
                </a:cxn>
                <a:cxn ang="0">
                  <a:pos x="23" y="140"/>
                </a:cxn>
                <a:cxn ang="0">
                  <a:pos x="102" y="124"/>
                </a:cxn>
                <a:cxn ang="0">
                  <a:pos x="103" y="101"/>
                </a:cxn>
              </a:cxnLst>
              <a:rect l="T0" t="T1" r="T2" b="T3"/>
              <a:pathLst>
                <a:path w="224" h="569">
                  <a:moveTo>
                    <a:pt x="103" y="101"/>
                  </a:moveTo>
                  <a:cubicBezTo>
                    <a:pt x="87" y="94"/>
                    <a:pt x="75" y="75"/>
                    <a:pt x="74" y="50"/>
                  </a:cubicBezTo>
                  <a:cubicBezTo>
                    <a:pt x="72" y="26"/>
                    <a:pt x="90" y="0"/>
                    <a:pt x="121" y="1"/>
                  </a:cubicBezTo>
                  <a:cubicBezTo>
                    <a:pt x="152" y="2"/>
                    <a:pt x="172" y="18"/>
                    <a:pt x="171" y="52"/>
                  </a:cubicBezTo>
                  <a:cubicBezTo>
                    <a:pt x="170" y="85"/>
                    <a:pt x="151" y="96"/>
                    <a:pt x="135" y="101"/>
                  </a:cubicBezTo>
                  <a:cubicBezTo>
                    <a:pt x="132" y="111"/>
                    <a:pt x="132" y="118"/>
                    <a:pt x="134" y="124"/>
                  </a:cubicBezTo>
                  <a:cubicBezTo>
                    <a:pt x="151" y="131"/>
                    <a:pt x="194" y="132"/>
                    <a:pt x="209" y="145"/>
                  </a:cubicBezTo>
                  <a:cubicBezTo>
                    <a:pt x="224" y="156"/>
                    <a:pt x="219" y="175"/>
                    <a:pt x="221" y="204"/>
                  </a:cubicBezTo>
                  <a:lnTo>
                    <a:pt x="218" y="321"/>
                  </a:lnTo>
                  <a:cubicBezTo>
                    <a:pt x="216" y="348"/>
                    <a:pt x="212" y="367"/>
                    <a:pt x="209" y="365"/>
                  </a:cubicBezTo>
                  <a:cubicBezTo>
                    <a:pt x="199" y="370"/>
                    <a:pt x="200" y="335"/>
                    <a:pt x="196" y="308"/>
                  </a:cubicBezTo>
                  <a:lnTo>
                    <a:pt x="187" y="202"/>
                  </a:lnTo>
                  <a:cubicBezTo>
                    <a:pt x="182" y="204"/>
                    <a:pt x="177" y="260"/>
                    <a:pt x="170" y="321"/>
                  </a:cubicBezTo>
                  <a:lnTo>
                    <a:pt x="144" y="569"/>
                  </a:lnTo>
                  <a:lnTo>
                    <a:pt x="78" y="565"/>
                  </a:lnTo>
                  <a:lnTo>
                    <a:pt x="50" y="325"/>
                  </a:lnTo>
                  <a:cubicBezTo>
                    <a:pt x="39" y="255"/>
                    <a:pt x="37" y="211"/>
                    <a:pt x="33" y="208"/>
                  </a:cubicBezTo>
                  <a:lnTo>
                    <a:pt x="25" y="310"/>
                  </a:lnTo>
                  <a:cubicBezTo>
                    <a:pt x="22" y="336"/>
                    <a:pt x="16" y="366"/>
                    <a:pt x="12" y="365"/>
                  </a:cubicBezTo>
                  <a:cubicBezTo>
                    <a:pt x="4" y="365"/>
                    <a:pt x="2" y="335"/>
                    <a:pt x="1" y="305"/>
                  </a:cubicBezTo>
                  <a:cubicBezTo>
                    <a:pt x="0" y="275"/>
                    <a:pt x="3" y="212"/>
                    <a:pt x="7" y="184"/>
                  </a:cubicBezTo>
                  <a:cubicBezTo>
                    <a:pt x="12" y="157"/>
                    <a:pt x="7" y="150"/>
                    <a:pt x="23" y="140"/>
                  </a:cubicBezTo>
                  <a:cubicBezTo>
                    <a:pt x="39" y="131"/>
                    <a:pt x="89" y="131"/>
                    <a:pt x="102" y="124"/>
                  </a:cubicBezTo>
                  <a:cubicBezTo>
                    <a:pt x="106" y="120"/>
                    <a:pt x="108" y="108"/>
                    <a:pt x="103" y="101"/>
                  </a:cubicBez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767676"/>
                </a:gs>
              </a:gsLst>
              <a:lin ang="5400000" scaled="1"/>
            </a:gradFill>
            <a:ln w="9525" cap="flat" cmpd="sng">
              <a:round/>
              <a:headEnd/>
              <a:tailEnd/>
            </a:ln>
            <a:effectLst/>
            <a:scene3d>
              <a:camera prst="legacyPerspectiveTopRight">
                <a:rot lat="0" lon="899997" rev="0"/>
              </a:camera>
              <a:lightRig rig="legacyFlat1" dir="t"/>
            </a:scene3d>
            <a:sp3d extrusionH="36500" prstMaterial="legacyMatte">
              <a:bevelT w="13500" h="13500" prst="angle"/>
              <a:bevelB w="13500" h="13500" prst="angle"/>
              <a:extrusionClr>
                <a:srgbClr val="333333"/>
              </a:extrusionClr>
            </a:sp3d>
          </p:spPr>
          <p:txBody>
            <a:bodyPr>
              <a:flatTx/>
            </a:bodyPr>
            <a:lstStyle/>
            <a:p>
              <a:endParaRPr lang="zh-CN" altLang="en-US"/>
            </a:p>
          </p:txBody>
        </p:sp>
      </p:grpSp>
      <p:pic>
        <p:nvPicPr>
          <p:cNvPr id="32778" name="Picture 11" descr="16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64363" y="1752600"/>
            <a:ext cx="725487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779" name="Picture 12" descr="23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05400" y="2428875"/>
            <a:ext cx="962025" cy="841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780" name="Picture 13" descr="13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79788" y="2906713"/>
            <a:ext cx="920750" cy="104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32781" name="Group 13"/>
          <p:cNvGrpSpPr>
            <a:grpSpLocks/>
          </p:cNvGrpSpPr>
          <p:nvPr/>
        </p:nvGrpSpPr>
        <p:grpSpPr bwMode="auto">
          <a:xfrm>
            <a:off x="1003300" y="4911725"/>
            <a:ext cx="1638300" cy="284163"/>
            <a:chOff x="0" y="0"/>
            <a:chExt cx="2330" cy="294"/>
          </a:xfrm>
        </p:grpSpPr>
        <p:sp>
          <p:nvSpPr>
            <p:cNvPr id="32782" name="AutoShape 15"/>
            <p:cNvSpPr>
              <a:spLocks noChangeArrowheads="1"/>
            </p:cNvSpPr>
            <p:nvPr/>
          </p:nvSpPr>
          <p:spPr bwMode="auto">
            <a:xfrm>
              <a:off x="0" y="0"/>
              <a:ext cx="2330" cy="294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CAAA59"/>
                </a:gs>
                <a:gs pos="50000">
                  <a:srgbClr val="B68A1C"/>
                </a:gs>
                <a:gs pos="100000">
                  <a:srgbClr val="CAAA59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  <a:effectLst>
              <a:outerShdw dist="35921" dir="2700000" algn="ctr" rotWithShape="0">
                <a:srgbClr val="080808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  <p:grpSp>
          <p:nvGrpSpPr>
            <p:cNvPr id="32783" name="Group 15"/>
            <p:cNvGrpSpPr>
              <a:grpSpLocks/>
            </p:cNvGrpSpPr>
            <p:nvPr/>
          </p:nvGrpSpPr>
          <p:grpSpPr bwMode="auto">
            <a:xfrm>
              <a:off x="2210" y="21"/>
              <a:ext cx="118" cy="257"/>
              <a:chOff x="0" y="0"/>
              <a:chExt cx="91440" cy="274320"/>
            </a:xfrm>
          </p:grpSpPr>
          <p:pic>
            <p:nvPicPr>
              <p:cNvPr id="32784" name="AutoShape 16"/>
              <p:cNvPicPr>
                <a:picLocks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0" y="0"/>
                <a:ext cx="91440" cy="27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32785" name="Text Box 17"/>
              <p:cNvSpPr txBox="1">
                <a:spLocks noChangeArrowheads="1"/>
              </p:cNvSpPr>
              <p:nvPr/>
            </p:nvSpPr>
            <p:spPr bwMode="auto">
              <a:xfrm>
                <a:off x="66061" y="89341"/>
                <a:ext cx="12574" cy="929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ea typeface="宋体" pitchFamily="2" charset="-122"/>
                </a:endParaRPr>
              </a:p>
            </p:txBody>
          </p:sp>
        </p:grpSp>
        <p:grpSp>
          <p:nvGrpSpPr>
            <p:cNvPr id="32786" name="Group 18"/>
            <p:cNvGrpSpPr>
              <a:grpSpLocks/>
            </p:cNvGrpSpPr>
            <p:nvPr/>
          </p:nvGrpSpPr>
          <p:grpSpPr bwMode="auto">
            <a:xfrm>
              <a:off x="3" y="21"/>
              <a:ext cx="126" cy="251"/>
              <a:chOff x="0" y="0"/>
              <a:chExt cx="97536" cy="268224"/>
            </a:xfrm>
          </p:grpSpPr>
          <p:pic>
            <p:nvPicPr>
              <p:cNvPr id="32787" name="AutoShape 17"/>
              <p:cNvPicPr>
                <a:picLocks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0" y="0"/>
                <a:ext cx="97536" cy="2682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32788" name="Text Box 20"/>
              <p:cNvSpPr txBox="1">
                <a:spLocks noChangeArrowheads="1"/>
              </p:cNvSpPr>
              <p:nvPr/>
            </p:nvSpPr>
            <p:spPr bwMode="auto">
              <a:xfrm>
                <a:off x="14040" y="89027"/>
                <a:ext cx="12574" cy="9144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ea typeface="宋体" pitchFamily="2" charset="-122"/>
                </a:endParaRPr>
              </a:p>
            </p:txBody>
          </p:sp>
        </p:grpSp>
      </p:grpSp>
      <p:sp>
        <p:nvSpPr>
          <p:cNvPr id="32789" name="Text Box 18"/>
          <p:cNvSpPr txBox="1">
            <a:spLocks noChangeArrowheads="1"/>
          </p:cNvSpPr>
          <p:nvPr/>
        </p:nvSpPr>
        <p:spPr bwMode="auto">
          <a:xfrm>
            <a:off x="1127125" y="4891088"/>
            <a:ext cx="1333500" cy="303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文本</a:t>
            </a:r>
          </a:p>
        </p:txBody>
      </p:sp>
      <p:sp>
        <p:nvSpPr>
          <p:cNvPr id="32790" name="Text Box 9"/>
          <p:cNvSpPr txBox="1">
            <a:spLocks noChangeArrowheads="1"/>
          </p:cNvSpPr>
          <p:nvPr/>
        </p:nvSpPr>
        <p:spPr bwMode="auto">
          <a:xfrm>
            <a:off x="1676400" y="1981200"/>
            <a:ext cx="26670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l"/>
            <a:r>
              <a:rPr lang="en-US" b="1" dirty="0"/>
              <a:t>点击输入文本信息</a:t>
            </a:r>
          </a:p>
        </p:txBody>
      </p:sp>
      <p:sp>
        <p:nvSpPr>
          <p:cNvPr id="32791" name="Rectangle 20"/>
          <p:cNvSpPr>
            <a:spLocks noChangeArrowheads="1"/>
          </p:cNvSpPr>
          <p:nvPr/>
        </p:nvSpPr>
        <p:spPr bwMode="auto">
          <a:xfrm>
            <a:off x="1068388" y="5259388"/>
            <a:ext cx="1601787" cy="303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/>
            <a:r>
              <a:rPr lang="en-US" sz="1600" dirty="0"/>
              <a:t>点击输入文本</a:t>
            </a:r>
          </a:p>
        </p:txBody>
      </p:sp>
      <p:sp>
        <p:nvSpPr>
          <p:cNvPr id="32792" name="Rectangle 21"/>
          <p:cNvSpPr>
            <a:spLocks noChangeArrowheads="1"/>
          </p:cNvSpPr>
          <p:nvPr/>
        </p:nvSpPr>
        <p:spPr bwMode="auto">
          <a:xfrm>
            <a:off x="2989263" y="4592638"/>
            <a:ext cx="1601787" cy="303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/>
            <a:r>
              <a:rPr lang="en-US" sz="1600"/>
              <a:t>点击输入文本</a:t>
            </a:r>
          </a:p>
        </p:txBody>
      </p:sp>
      <p:sp>
        <p:nvSpPr>
          <p:cNvPr id="32793" name="Rectangle 22"/>
          <p:cNvSpPr>
            <a:spLocks noChangeArrowheads="1"/>
          </p:cNvSpPr>
          <p:nvPr/>
        </p:nvSpPr>
        <p:spPr bwMode="auto">
          <a:xfrm>
            <a:off x="4803775" y="3843338"/>
            <a:ext cx="1601788" cy="303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/>
            <a:r>
              <a:rPr lang="en-US" sz="1600"/>
              <a:t>点击输入文本</a:t>
            </a:r>
          </a:p>
        </p:txBody>
      </p:sp>
      <p:sp>
        <p:nvSpPr>
          <p:cNvPr id="32794" name="Rectangle 23"/>
          <p:cNvSpPr>
            <a:spLocks noChangeArrowheads="1"/>
          </p:cNvSpPr>
          <p:nvPr/>
        </p:nvSpPr>
        <p:spPr bwMode="auto">
          <a:xfrm>
            <a:off x="6708775" y="3094038"/>
            <a:ext cx="1603375" cy="303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/>
            <a:r>
              <a:rPr lang="en-US" sz="1600"/>
              <a:t>点击输入文本</a:t>
            </a:r>
          </a:p>
        </p:txBody>
      </p:sp>
      <p:grpSp>
        <p:nvGrpSpPr>
          <p:cNvPr id="32795" name="Group 27"/>
          <p:cNvGrpSpPr>
            <a:grpSpLocks/>
          </p:cNvGrpSpPr>
          <p:nvPr/>
        </p:nvGrpSpPr>
        <p:grpSpPr bwMode="auto">
          <a:xfrm>
            <a:off x="2932113" y="4187825"/>
            <a:ext cx="1638300" cy="284163"/>
            <a:chOff x="0" y="0"/>
            <a:chExt cx="2330" cy="294"/>
          </a:xfrm>
        </p:grpSpPr>
        <p:sp>
          <p:nvSpPr>
            <p:cNvPr id="32796" name="AutoShape 25"/>
            <p:cNvSpPr>
              <a:spLocks noChangeArrowheads="1"/>
            </p:cNvSpPr>
            <p:nvPr/>
          </p:nvSpPr>
          <p:spPr bwMode="auto">
            <a:xfrm>
              <a:off x="0" y="0"/>
              <a:ext cx="2330" cy="294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CAAA59"/>
                </a:gs>
                <a:gs pos="50000">
                  <a:srgbClr val="B68A1C"/>
                </a:gs>
                <a:gs pos="100000">
                  <a:srgbClr val="CAAA59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  <a:effectLst>
              <a:outerShdw dist="35921" dir="2700000" algn="ctr" rotWithShape="0">
                <a:srgbClr val="080808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  <p:grpSp>
          <p:nvGrpSpPr>
            <p:cNvPr id="32797" name="Group 29"/>
            <p:cNvGrpSpPr>
              <a:grpSpLocks/>
            </p:cNvGrpSpPr>
            <p:nvPr/>
          </p:nvGrpSpPr>
          <p:grpSpPr bwMode="auto">
            <a:xfrm>
              <a:off x="2206" y="21"/>
              <a:ext cx="118" cy="258"/>
              <a:chOff x="0" y="0"/>
              <a:chExt cx="91440" cy="274320"/>
            </a:xfrm>
          </p:grpSpPr>
          <p:pic>
            <p:nvPicPr>
              <p:cNvPr id="32798" name="AutoShape 26"/>
              <p:cNvPicPr>
                <a:picLocks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0" y="0"/>
                <a:ext cx="91440" cy="27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32799" name="Text Box 31"/>
              <p:cNvSpPr txBox="1">
                <a:spLocks noChangeArrowheads="1"/>
              </p:cNvSpPr>
              <p:nvPr/>
            </p:nvSpPr>
            <p:spPr bwMode="auto">
              <a:xfrm>
                <a:off x="68982" y="88840"/>
                <a:ext cx="12574" cy="9248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ea typeface="宋体" pitchFamily="2" charset="-122"/>
                </a:endParaRPr>
              </a:p>
            </p:txBody>
          </p:sp>
        </p:grpSp>
        <p:grpSp>
          <p:nvGrpSpPr>
            <p:cNvPr id="32800" name="Group 32"/>
            <p:cNvGrpSpPr>
              <a:grpSpLocks/>
            </p:cNvGrpSpPr>
            <p:nvPr/>
          </p:nvGrpSpPr>
          <p:grpSpPr bwMode="auto">
            <a:xfrm>
              <a:off x="7" y="21"/>
              <a:ext cx="118" cy="252"/>
              <a:chOff x="0" y="0"/>
              <a:chExt cx="91440" cy="268224"/>
            </a:xfrm>
          </p:grpSpPr>
          <p:pic>
            <p:nvPicPr>
              <p:cNvPr id="32801" name="AutoShape 27"/>
              <p:cNvPicPr>
                <a:picLocks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0" y="0"/>
                <a:ext cx="91440" cy="2682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32802" name="Text Box 34"/>
              <p:cNvSpPr txBox="1">
                <a:spLocks noChangeArrowheads="1"/>
              </p:cNvSpPr>
              <p:nvPr/>
            </p:nvSpPr>
            <p:spPr bwMode="auto">
              <a:xfrm>
                <a:off x="10865" y="88528"/>
                <a:ext cx="12574" cy="909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ea typeface="宋体" pitchFamily="2" charset="-122"/>
                </a:endParaRPr>
              </a:p>
            </p:txBody>
          </p:sp>
        </p:grpSp>
      </p:grpSp>
      <p:sp>
        <p:nvSpPr>
          <p:cNvPr id="32803" name="Text Box 18"/>
          <p:cNvSpPr txBox="1">
            <a:spLocks noChangeArrowheads="1"/>
          </p:cNvSpPr>
          <p:nvPr/>
        </p:nvSpPr>
        <p:spPr bwMode="auto">
          <a:xfrm>
            <a:off x="3052763" y="4167188"/>
            <a:ext cx="13398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文本</a:t>
            </a:r>
          </a:p>
        </p:txBody>
      </p:sp>
      <p:grpSp>
        <p:nvGrpSpPr>
          <p:cNvPr id="32804" name="Group 36"/>
          <p:cNvGrpSpPr>
            <a:grpSpLocks/>
          </p:cNvGrpSpPr>
          <p:nvPr/>
        </p:nvGrpSpPr>
        <p:grpSpPr bwMode="auto">
          <a:xfrm>
            <a:off x="4772025" y="3452813"/>
            <a:ext cx="1636713" cy="284162"/>
            <a:chOff x="0" y="0"/>
            <a:chExt cx="2330" cy="294"/>
          </a:xfrm>
        </p:grpSpPr>
        <p:sp>
          <p:nvSpPr>
            <p:cNvPr id="32805" name="AutoShape 30"/>
            <p:cNvSpPr>
              <a:spLocks noChangeArrowheads="1"/>
            </p:cNvSpPr>
            <p:nvPr/>
          </p:nvSpPr>
          <p:spPr bwMode="auto">
            <a:xfrm>
              <a:off x="0" y="0"/>
              <a:ext cx="2330" cy="294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CAAA59"/>
                </a:gs>
                <a:gs pos="50000">
                  <a:srgbClr val="B68A1C"/>
                </a:gs>
                <a:gs pos="100000">
                  <a:srgbClr val="CAAA59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  <a:effectLst>
              <a:outerShdw dist="35921" dir="2700000" algn="ctr" rotWithShape="0">
                <a:srgbClr val="080808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  <p:grpSp>
          <p:nvGrpSpPr>
            <p:cNvPr id="32806" name="Group 38"/>
            <p:cNvGrpSpPr>
              <a:grpSpLocks/>
            </p:cNvGrpSpPr>
            <p:nvPr/>
          </p:nvGrpSpPr>
          <p:grpSpPr bwMode="auto">
            <a:xfrm>
              <a:off x="2206" y="17"/>
              <a:ext cx="118" cy="262"/>
              <a:chOff x="0" y="0"/>
              <a:chExt cx="91440" cy="280416"/>
            </a:xfrm>
          </p:grpSpPr>
          <p:pic>
            <p:nvPicPr>
              <p:cNvPr id="32807" name="AutoShape 31"/>
              <p:cNvPicPr>
                <a:picLocks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0" y="0"/>
                <a:ext cx="91440" cy="28041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32808" name="Text Box 40"/>
              <p:cNvSpPr txBox="1">
                <a:spLocks noChangeArrowheads="1"/>
              </p:cNvSpPr>
              <p:nvPr/>
            </p:nvSpPr>
            <p:spPr bwMode="auto">
              <a:xfrm>
                <a:off x="69426" y="93468"/>
                <a:ext cx="12574" cy="929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ea typeface="宋体" pitchFamily="2" charset="-122"/>
                </a:endParaRPr>
              </a:p>
            </p:txBody>
          </p:sp>
        </p:grpSp>
        <p:grpSp>
          <p:nvGrpSpPr>
            <p:cNvPr id="32809" name="Group 41"/>
            <p:cNvGrpSpPr>
              <a:grpSpLocks/>
            </p:cNvGrpSpPr>
            <p:nvPr/>
          </p:nvGrpSpPr>
          <p:grpSpPr bwMode="auto">
            <a:xfrm>
              <a:off x="6" y="23"/>
              <a:ext cx="118" cy="251"/>
              <a:chOff x="0" y="0"/>
              <a:chExt cx="91440" cy="268224"/>
            </a:xfrm>
          </p:grpSpPr>
          <p:pic>
            <p:nvPicPr>
              <p:cNvPr id="32810" name="AutoShape 32"/>
              <p:cNvPicPr>
                <a:picLocks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0" y="0"/>
                <a:ext cx="91440" cy="2682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32811" name="Text Box 43"/>
              <p:cNvSpPr txBox="1">
                <a:spLocks noChangeArrowheads="1"/>
              </p:cNvSpPr>
              <p:nvPr/>
            </p:nvSpPr>
            <p:spPr bwMode="auto">
              <a:xfrm>
                <a:off x="11310" y="87058"/>
                <a:ext cx="12574" cy="9144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ea typeface="宋体" pitchFamily="2" charset="-122"/>
                </a:endParaRPr>
              </a:p>
            </p:txBody>
          </p:sp>
        </p:grpSp>
      </p:grpSp>
      <p:sp>
        <p:nvSpPr>
          <p:cNvPr id="32812" name="Text Box 18"/>
          <p:cNvSpPr txBox="1">
            <a:spLocks noChangeArrowheads="1"/>
          </p:cNvSpPr>
          <p:nvPr/>
        </p:nvSpPr>
        <p:spPr bwMode="auto">
          <a:xfrm>
            <a:off x="4867275" y="3432175"/>
            <a:ext cx="13890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文本</a:t>
            </a:r>
          </a:p>
        </p:txBody>
      </p:sp>
      <p:grpSp>
        <p:nvGrpSpPr>
          <p:cNvPr id="32813" name="Group 45"/>
          <p:cNvGrpSpPr>
            <a:grpSpLocks/>
          </p:cNvGrpSpPr>
          <p:nvPr/>
        </p:nvGrpSpPr>
        <p:grpSpPr bwMode="auto">
          <a:xfrm>
            <a:off x="6689725" y="2736850"/>
            <a:ext cx="1635125" cy="284163"/>
            <a:chOff x="0" y="0"/>
            <a:chExt cx="2330" cy="294"/>
          </a:xfrm>
        </p:grpSpPr>
        <p:sp>
          <p:nvSpPr>
            <p:cNvPr id="32814" name="AutoShape 35"/>
            <p:cNvSpPr>
              <a:spLocks noChangeArrowheads="1"/>
            </p:cNvSpPr>
            <p:nvPr/>
          </p:nvSpPr>
          <p:spPr bwMode="auto">
            <a:xfrm>
              <a:off x="0" y="0"/>
              <a:ext cx="2330" cy="294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CAAA59"/>
                </a:gs>
                <a:gs pos="50000">
                  <a:srgbClr val="B68A1C"/>
                </a:gs>
                <a:gs pos="100000">
                  <a:srgbClr val="CAAA59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  <a:effectLst>
              <a:outerShdw dist="35921" dir="2700000" algn="ctr" rotWithShape="0">
                <a:srgbClr val="080808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  <p:grpSp>
          <p:nvGrpSpPr>
            <p:cNvPr id="32815" name="Group 47"/>
            <p:cNvGrpSpPr>
              <a:grpSpLocks/>
            </p:cNvGrpSpPr>
            <p:nvPr/>
          </p:nvGrpSpPr>
          <p:grpSpPr bwMode="auto">
            <a:xfrm>
              <a:off x="2203" y="21"/>
              <a:ext cx="126" cy="257"/>
              <a:chOff x="0" y="0"/>
              <a:chExt cx="97536" cy="274320"/>
            </a:xfrm>
          </p:grpSpPr>
          <p:pic>
            <p:nvPicPr>
              <p:cNvPr id="32816" name="AutoShape 36"/>
              <p:cNvPicPr>
                <a:picLocks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0" y="0"/>
                <a:ext cx="97536" cy="27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32817" name="Text Box 49"/>
              <p:cNvSpPr txBox="1">
                <a:spLocks noChangeArrowheads="1"/>
              </p:cNvSpPr>
              <p:nvPr/>
            </p:nvSpPr>
            <p:spPr bwMode="auto">
              <a:xfrm>
                <a:off x="71839" y="89277"/>
                <a:ext cx="12574" cy="929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ea typeface="宋体" pitchFamily="2" charset="-122"/>
                </a:endParaRPr>
              </a:p>
            </p:txBody>
          </p:sp>
        </p:grpSp>
        <p:grpSp>
          <p:nvGrpSpPr>
            <p:cNvPr id="32818" name="Group 50"/>
            <p:cNvGrpSpPr>
              <a:grpSpLocks/>
            </p:cNvGrpSpPr>
            <p:nvPr/>
          </p:nvGrpSpPr>
          <p:grpSpPr bwMode="auto">
            <a:xfrm>
              <a:off x="3" y="21"/>
              <a:ext cx="126" cy="251"/>
              <a:chOff x="0" y="0"/>
              <a:chExt cx="97536" cy="268224"/>
            </a:xfrm>
          </p:grpSpPr>
          <p:pic>
            <p:nvPicPr>
              <p:cNvPr id="32819" name="AutoShape 37"/>
              <p:cNvPicPr>
                <a:picLocks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0" y="0"/>
                <a:ext cx="97536" cy="2682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32820" name="Text Box 52"/>
              <p:cNvSpPr txBox="1">
                <a:spLocks noChangeArrowheads="1"/>
              </p:cNvSpPr>
              <p:nvPr/>
            </p:nvSpPr>
            <p:spPr bwMode="auto">
              <a:xfrm>
                <a:off x="13723" y="88963"/>
                <a:ext cx="12574" cy="9144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ea typeface="宋体" pitchFamily="2" charset="-122"/>
                </a:endParaRPr>
              </a:p>
            </p:txBody>
          </p:sp>
        </p:grpSp>
      </p:grpSp>
      <p:sp>
        <p:nvSpPr>
          <p:cNvPr id="32821" name="Text Box 18"/>
          <p:cNvSpPr txBox="1">
            <a:spLocks noChangeArrowheads="1"/>
          </p:cNvSpPr>
          <p:nvPr/>
        </p:nvSpPr>
        <p:spPr bwMode="auto">
          <a:xfrm>
            <a:off x="6770688" y="2716213"/>
            <a:ext cx="1417637" cy="303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文本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27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27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277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27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900" decel="100000" fill="hold"/>
                                        <p:tgtEl>
                                          <p:spTgt spid="327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27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27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27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900" decel="100000" fill="hold"/>
                                        <p:tgtEl>
                                          <p:spTgt spid="327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27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000"/>
                            </p:stCondLst>
                            <p:childTnLst>
                              <p:par>
                                <p:cTn id="24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327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27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900" decel="100000" fill="hold"/>
                                        <p:tgtEl>
                                          <p:spTgt spid="327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27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000"/>
                            </p:stCondLst>
                            <p:childTnLst>
                              <p:par>
                                <p:cTn id="31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3277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27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900" decel="100000" fill="hold"/>
                                        <p:tgtEl>
                                          <p:spTgt spid="327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27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0"/>
                            </p:stCondLst>
                            <p:childTnLst>
                              <p:par>
                                <p:cTn id="38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27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27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900" decel="100000" fill="hold"/>
                                        <p:tgtEl>
                                          <p:spTgt spid="327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27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6000"/>
                            </p:stCondLst>
                            <p:childTnLst>
                              <p:par>
                                <p:cTn id="4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7" dur="500"/>
                                        <p:tgtEl>
                                          <p:spTgt spid="327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6500"/>
                            </p:stCondLst>
                            <p:childTnLst>
                              <p:par>
                                <p:cTn id="49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3279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327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900" decel="100000" fill="hold"/>
                                        <p:tgtEl>
                                          <p:spTgt spid="327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27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7500"/>
                            </p:stCondLst>
                            <p:childTnLst>
                              <p:par>
                                <p:cTn id="5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8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8" dur="500"/>
                                        <p:tgtEl>
                                          <p:spTgt spid="328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8000"/>
                            </p:stCondLst>
                            <p:childTnLst>
                              <p:par>
                                <p:cTn id="60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8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3280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328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900" decel="100000" fill="hold"/>
                                        <p:tgtEl>
                                          <p:spTgt spid="328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28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9000"/>
                            </p:stCondLst>
                            <p:childTnLst>
                              <p:par>
                                <p:cTn id="6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8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9" dur="500"/>
                                        <p:tgtEl>
                                          <p:spTgt spid="328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9500"/>
                            </p:stCondLst>
                            <p:childTnLst>
                              <p:par>
                                <p:cTn id="71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8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328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328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900" decel="100000" fill="hold"/>
                                        <p:tgtEl>
                                          <p:spTgt spid="328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28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10500"/>
                            </p:stCondLst>
                            <p:childTnLst>
                              <p:par>
                                <p:cTn id="7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8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80" dur="500"/>
                                        <p:tgtEl>
                                          <p:spTgt spid="328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1000"/>
                            </p:stCondLst>
                            <p:childTnLst>
                              <p:par>
                                <p:cTn id="82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327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327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900" decel="100000" fill="hold"/>
                                        <p:tgtEl>
                                          <p:spTgt spid="327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27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2000"/>
                            </p:stCondLst>
                            <p:childTnLst>
                              <p:par>
                                <p:cTn id="8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1000"/>
                                        <p:tgtEl>
                                          <p:spTgt spid="3279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327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900" decel="100000" fill="hold"/>
                                        <p:tgtEl>
                                          <p:spTgt spid="327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27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13000"/>
                            </p:stCondLst>
                            <p:childTnLst>
                              <p:par>
                                <p:cTn id="96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3279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327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900" decel="100000" fill="hold"/>
                                        <p:tgtEl>
                                          <p:spTgt spid="327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27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14000"/>
                            </p:stCondLst>
                            <p:childTnLst>
                              <p:par>
                                <p:cTn id="10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1000"/>
                                        <p:tgtEl>
                                          <p:spTgt spid="327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327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900" decel="100000" fill="hold"/>
                                        <p:tgtEl>
                                          <p:spTgt spid="327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27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15000"/>
                            </p:stCondLst>
                            <p:childTnLst>
                              <p:par>
                                <p:cTn id="110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327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327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3279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5" dur="1000"/>
                                        <p:tgtEl>
                                          <p:spTgt spid="327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770" grpId="0" animBg="1"/>
      <p:bldP spid="32789" grpId="0"/>
      <p:bldP spid="32790" grpId="0"/>
      <p:bldP spid="32791" grpId="0"/>
      <p:bldP spid="32792" grpId="0"/>
      <p:bldP spid="32793" grpId="0"/>
      <p:bldP spid="32794" grpId="0"/>
      <p:bldP spid="32803" grpId="0"/>
      <p:bldP spid="32812" grpId="0"/>
      <p:bldP spid="32821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组合 23"/>
          <p:cNvGrpSpPr/>
          <p:nvPr/>
        </p:nvGrpSpPr>
        <p:grpSpPr>
          <a:xfrm>
            <a:off x="1797050" y="1905000"/>
            <a:ext cx="1631950" cy="1612900"/>
            <a:chOff x="3744913" y="1522413"/>
            <a:chExt cx="1631950" cy="1612900"/>
          </a:xfrm>
        </p:grpSpPr>
        <p:grpSp>
          <p:nvGrpSpPr>
            <p:cNvPr id="25" name="Group 7"/>
            <p:cNvGrpSpPr>
              <a:grpSpLocks/>
            </p:cNvGrpSpPr>
            <p:nvPr/>
          </p:nvGrpSpPr>
          <p:grpSpPr bwMode="auto">
            <a:xfrm>
              <a:off x="3744913" y="1522413"/>
              <a:ext cx="1631950" cy="1612900"/>
              <a:chOff x="0" y="0"/>
              <a:chExt cx="1110" cy="1096"/>
            </a:xfrm>
          </p:grpSpPr>
          <p:grpSp>
            <p:nvGrpSpPr>
              <p:cNvPr id="29" name="Group 8"/>
              <p:cNvGrpSpPr>
                <a:grpSpLocks/>
              </p:cNvGrpSpPr>
              <p:nvPr/>
            </p:nvGrpSpPr>
            <p:grpSpPr bwMode="auto">
              <a:xfrm>
                <a:off x="0" y="0"/>
                <a:ext cx="1110" cy="1096"/>
                <a:chOff x="0" y="0"/>
                <a:chExt cx="1110" cy="1096"/>
              </a:xfrm>
            </p:grpSpPr>
            <p:sp>
              <p:nvSpPr>
                <p:cNvPr id="33" name="Oval 12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1110" cy="1096"/>
                </a:xfrm>
                <a:prstGeom prst="ellipse">
                  <a:avLst/>
                </a:prstGeom>
                <a:solidFill>
                  <a:srgbClr val="3333CC">
                    <a:alpha val="9999"/>
                  </a:srgb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l"/>
                  <a:endParaRPr lang="zh-CN" altLang="en-US">
                    <a:ea typeface="宋体" pitchFamily="2" charset="-122"/>
                  </a:endParaRPr>
                </a:p>
              </p:txBody>
            </p:sp>
            <p:sp>
              <p:nvSpPr>
                <p:cNvPr id="34" name="Oval 13"/>
                <p:cNvSpPr>
                  <a:spLocks noChangeArrowheads="1"/>
                </p:cNvSpPr>
                <p:nvPr/>
              </p:nvSpPr>
              <p:spPr bwMode="auto">
                <a:xfrm>
                  <a:off x="25" y="25"/>
                  <a:ext cx="1062" cy="1048"/>
                </a:xfrm>
                <a:prstGeom prst="ellipse">
                  <a:avLst/>
                </a:prstGeom>
                <a:solidFill>
                  <a:schemeClr val="accent1">
                    <a:alpha val="9999"/>
                  </a:scheme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l"/>
                  <a:endParaRPr lang="zh-CN" altLang="en-US">
                    <a:ea typeface="宋体" pitchFamily="2" charset="-122"/>
                  </a:endParaRPr>
                </a:p>
              </p:txBody>
            </p:sp>
          </p:grpSp>
          <p:grpSp>
            <p:nvGrpSpPr>
              <p:cNvPr id="30" name="Group 11"/>
              <p:cNvGrpSpPr>
                <a:grpSpLocks/>
              </p:cNvGrpSpPr>
              <p:nvPr/>
            </p:nvGrpSpPr>
            <p:grpSpPr bwMode="auto">
              <a:xfrm>
                <a:off x="49" y="48"/>
                <a:ext cx="1026" cy="1014"/>
                <a:chOff x="0" y="0"/>
                <a:chExt cx="1110" cy="1096"/>
              </a:xfrm>
            </p:grpSpPr>
            <p:sp>
              <p:nvSpPr>
                <p:cNvPr id="31" name="Oval 15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1110" cy="1096"/>
                </a:xfrm>
                <a:prstGeom prst="ellipse">
                  <a:avLst/>
                </a:prstGeom>
                <a:solidFill>
                  <a:schemeClr val="accent1">
                    <a:alpha val="9999"/>
                  </a:scheme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l"/>
                  <a:endParaRPr lang="zh-CN" altLang="en-US">
                    <a:ea typeface="宋体" pitchFamily="2" charset="-122"/>
                  </a:endParaRPr>
                </a:p>
              </p:txBody>
            </p:sp>
            <p:sp>
              <p:nvSpPr>
                <p:cNvPr id="32" name="Oval 16"/>
                <p:cNvSpPr>
                  <a:spLocks noChangeArrowheads="1"/>
                </p:cNvSpPr>
                <p:nvPr/>
              </p:nvSpPr>
              <p:spPr bwMode="auto">
                <a:xfrm>
                  <a:off x="25" y="25"/>
                  <a:ext cx="1062" cy="1048"/>
                </a:xfrm>
                <a:prstGeom prst="ellipse">
                  <a:avLst/>
                </a:prstGeom>
                <a:solidFill>
                  <a:srgbClr val="3333CC">
                    <a:alpha val="9999"/>
                  </a:srgb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l"/>
                  <a:endParaRPr lang="zh-CN" altLang="en-US">
                    <a:ea typeface="宋体" pitchFamily="2" charset="-122"/>
                  </a:endParaRPr>
                </a:p>
              </p:txBody>
            </p:sp>
          </p:grpSp>
        </p:grpSp>
        <p:grpSp>
          <p:nvGrpSpPr>
            <p:cNvPr id="26" name="Group 28"/>
            <p:cNvGrpSpPr>
              <a:grpSpLocks/>
            </p:cNvGrpSpPr>
            <p:nvPr/>
          </p:nvGrpSpPr>
          <p:grpSpPr bwMode="auto">
            <a:xfrm>
              <a:off x="3819525" y="1573213"/>
              <a:ext cx="1466850" cy="1447800"/>
              <a:chOff x="0" y="0"/>
              <a:chExt cx="751" cy="741"/>
            </a:xfrm>
          </p:grpSpPr>
          <p:sp>
            <p:nvSpPr>
              <p:cNvPr id="27" name="Oval 32"/>
              <p:cNvSpPr>
                <a:spLocks noChangeArrowheads="1"/>
              </p:cNvSpPr>
              <p:nvPr/>
            </p:nvSpPr>
            <p:spPr bwMode="auto">
              <a:xfrm>
                <a:off x="20" y="32"/>
                <a:ext cx="716" cy="709"/>
              </a:xfrm>
              <a:prstGeom prst="ellipse">
                <a:avLst/>
              </a:prstGeom>
              <a:gradFill rotWithShape="1">
                <a:gsLst>
                  <a:gs pos="0">
                    <a:schemeClr val="accent1"/>
                  </a:gs>
                  <a:gs pos="100000">
                    <a:srgbClr val="510207"/>
                  </a:gs>
                </a:gsLst>
                <a:lin ang="5400000" scaled="1"/>
              </a:gradFill>
              <a:ln w="38100" cap="flat" cmpd="sng">
                <a:solidFill>
                  <a:srgbClr val="F8F8F8">
                    <a:alpha val="75000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ea typeface="宋体" pitchFamily="2" charset="-122"/>
                </a:endParaRPr>
              </a:p>
            </p:txBody>
          </p:sp>
          <p:pic>
            <p:nvPicPr>
              <p:cNvPr id="28" name="Picture 33" descr="cir_lighteffect0"/>
              <p:cNvPicPr>
                <a:picLocks noChangeAspect="1" noChangeArrowheads="1"/>
              </p:cNvPicPr>
              <p:nvPr/>
            </p:nvPicPr>
            <p:blipFill>
              <a:blip r:embed="rId2" cstate="print">
                <a:lum bright="18000" contrast="-12000"/>
              </a:blip>
              <a:srcRect/>
              <a:stretch>
                <a:fillRect/>
              </a:stretch>
            </p:blipFill>
            <p:spPr bwMode="auto">
              <a:xfrm>
                <a:off x="0" y="0"/>
                <a:ext cx="751" cy="6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</p:grpSp>
      <p:grpSp>
        <p:nvGrpSpPr>
          <p:cNvPr id="35" name="组合 34"/>
          <p:cNvGrpSpPr/>
          <p:nvPr/>
        </p:nvGrpSpPr>
        <p:grpSpPr>
          <a:xfrm>
            <a:off x="3733800" y="1905000"/>
            <a:ext cx="1631950" cy="1612900"/>
            <a:chOff x="2335213" y="3925888"/>
            <a:chExt cx="1631950" cy="1612900"/>
          </a:xfrm>
        </p:grpSpPr>
        <p:grpSp>
          <p:nvGrpSpPr>
            <p:cNvPr id="36" name="Group 14"/>
            <p:cNvGrpSpPr>
              <a:grpSpLocks/>
            </p:cNvGrpSpPr>
            <p:nvPr/>
          </p:nvGrpSpPr>
          <p:grpSpPr bwMode="auto">
            <a:xfrm>
              <a:off x="2335213" y="3925888"/>
              <a:ext cx="1631950" cy="1612900"/>
              <a:chOff x="0" y="0"/>
              <a:chExt cx="1110" cy="1096"/>
            </a:xfrm>
          </p:grpSpPr>
          <p:grpSp>
            <p:nvGrpSpPr>
              <p:cNvPr id="40" name="Group 15"/>
              <p:cNvGrpSpPr>
                <a:grpSpLocks/>
              </p:cNvGrpSpPr>
              <p:nvPr/>
            </p:nvGrpSpPr>
            <p:grpSpPr bwMode="auto">
              <a:xfrm>
                <a:off x="0" y="0"/>
                <a:ext cx="1110" cy="1096"/>
                <a:chOff x="0" y="0"/>
                <a:chExt cx="1110" cy="1096"/>
              </a:xfrm>
            </p:grpSpPr>
            <p:sp>
              <p:nvSpPr>
                <p:cNvPr id="44" name="Oval 19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1110" cy="1096"/>
                </a:xfrm>
                <a:prstGeom prst="ellipse">
                  <a:avLst/>
                </a:prstGeom>
                <a:solidFill>
                  <a:schemeClr val="accent2">
                    <a:alpha val="9999"/>
                  </a:scheme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l"/>
                  <a:endParaRPr lang="zh-CN" altLang="en-US">
                    <a:ea typeface="宋体" pitchFamily="2" charset="-122"/>
                  </a:endParaRPr>
                </a:p>
              </p:txBody>
            </p:sp>
            <p:sp>
              <p:nvSpPr>
                <p:cNvPr id="45" name="Oval 20"/>
                <p:cNvSpPr>
                  <a:spLocks noChangeArrowheads="1"/>
                </p:cNvSpPr>
                <p:nvPr/>
              </p:nvSpPr>
              <p:spPr bwMode="auto">
                <a:xfrm>
                  <a:off x="25" y="25"/>
                  <a:ext cx="1062" cy="1048"/>
                </a:xfrm>
                <a:prstGeom prst="ellipse">
                  <a:avLst/>
                </a:prstGeom>
                <a:solidFill>
                  <a:schemeClr val="accent2">
                    <a:alpha val="9999"/>
                  </a:scheme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l"/>
                  <a:endParaRPr lang="zh-CN" altLang="en-US">
                    <a:ea typeface="宋体" pitchFamily="2" charset="-122"/>
                  </a:endParaRPr>
                </a:p>
              </p:txBody>
            </p:sp>
          </p:grpSp>
          <p:grpSp>
            <p:nvGrpSpPr>
              <p:cNvPr id="41" name="Group 18"/>
              <p:cNvGrpSpPr>
                <a:grpSpLocks/>
              </p:cNvGrpSpPr>
              <p:nvPr/>
            </p:nvGrpSpPr>
            <p:grpSpPr bwMode="auto">
              <a:xfrm>
                <a:off x="49" y="48"/>
                <a:ext cx="1026" cy="1014"/>
                <a:chOff x="0" y="0"/>
                <a:chExt cx="1110" cy="1096"/>
              </a:xfrm>
            </p:grpSpPr>
            <p:sp>
              <p:nvSpPr>
                <p:cNvPr id="42" name="Oval 22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1110" cy="1096"/>
                </a:xfrm>
                <a:prstGeom prst="ellipse">
                  <a:avLst/>
                </a:prstGeom>
                <a:solidFill>
                  <a:schemeClr val="accent2">
                    <a:alpha val="9999"/>
                  </a:scheme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l"/>
                  <a:endParaRPr lang="zh-CN" altLang="en-US">
                    <a:ea typeface="宋体" pitchFamily="2" charset="-122"/>
                  </a:endParaRPr>
                </a:p>
              </p:txBody>
            </p:sp>
            <p:sp>
              <p:nvSpPr>
                <p:cNvPr id="43" name="Oval 23"/>
                <p:cNvSpPr>
                  <a:spLocks noChangeArrowheads="1"/>
                </p:cNvSpPr>
                <p:nvPr/>
              </p:nvSpPr>
              <p:spPr bwMode="auto">
                <a:xfrm>
                  <a:off x="25" y="25"/>
                  <a:ext cx="1062" cy="1048"/>
                </a:xfrm>
                <a:prstGeom prst="ellipse">
                  <a:avLst/>
                </a:prstGeom>
                <a:solidFill>
                  <a:schemeClr val="accent2">
                    <a:alpha val="9999"/>
                  </a:scheme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l"/>
                  <a:endParaRPr lang="zh-CN" altLang="en-US">
                    <a:ea typeface="宋体" pitchFamily="2" charset="-122"/>
                  </a:endParaRPr>
                </a:p>
              </p:txBody>
            </p:sp>
          </p:grpSp>
        </p:grpSp>
        <p:grpSp>
          <p:nvGrpSpPr>
            <p:cNvPr id="37" name="Group 32"/>
            <p:cNvGrpSpPr>
              <a:grpSpLocks/>
            </p:cNvGrpSpPr>
            <p:nvPr/>
          </p:nvGrpSpPr>
          <p:grpSpPr bwMode="auto">
            <a:xfrm>
              <a:off x="2406650" y="3987800"/>
              <a:ext cx="1466850" cy="1447800"/>
              <a:chOff x="0" y="0"/>
              <a:chExt cx="751" cy="741"/>
            </a:xfrm>
          </p:grpSpPr>
          <p:sp>
            <p:nvSpPr>
              <p:cNvPr id="38" name="Oval 36"/>
              <p:cNvSpPr>
                <a:spLocks noChangeArrowheads="1"/>
              </p:cNvSpPr>
              <p:nvPr/>
            </p:nvSpPr>
            <p:spPr bwMode="auto">
              <a:xfrm>
                <a:off x="20" y="32"/>
                <a:ext cx="716" cy="709"/>
              </a:xfrm>
              <a:prstGeom prst="ellipse">
                <a:avLst/>
              </a:prstGeom>
              <a:gradFill rotWithShape="1">
                <a:gsLst>
                  <a:gs pos="0">
                    <a:schemeClr val="accent2"/>
                  </a:gs>
                  <a:gs pos="100000">
                    <a:srgbClr val="3C0004"/>
                  </a:gs>
                </a:gsLst>
                <a:lin ang="5400000" scaled="1"/>
              </a:gradFill>
              <a:ln w="38100" cap="flat" cmpd="sng">
                <a:solidFill>
                  <a:srgbClr val="F8F8F8">
                    <a:alpha val="75000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ea typeface="宋体" pitchFamily="2" charset="-122"/>
                </a:endParaRPr>
              </a:p>
            </p:txBody>
          </p:sp>
          <p:pic>
            <p:nvPicPr>
              <p:cNvPr id="39" name="Picture 37" descr="cir_lighteffect0"/>
              <p:cNvPicPr>
                <a:picLocks noChangeAspect="1" noChangeArrowheads="1"/>
              </p:cNvPicPr>
              <p:nvPr/>
            </p:nvPicPr>
            <p:blipFill>
              <a:blip r:embed="rId2" cstate="print">
                <a:lum bright="18000" contrast="-12000"/>
              </a:blip>
              <a:srcRect/>
              <a:stretch>
                <a:fillRect/>
              </a:stretch>
            </p:blipFill>
            <p:spPr bwMode="auto">
              <a:xfrm>
                <a:off x="0" y="0"/>
                <a:ext cx="751" cy="6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</p:grpSp>
      <p:grpSp>
        <p:nvGrpSpPr>
          <p:cNvPr id="46" name="组合 45"/>
          <p:cNvGrpSpPr/>
          <p:nvPr/>
        </p:nvGrpSpPr>
        <p:grpSpPr>
          <a:xfrm>
            <a:off x="5638800" y="1905000"/>
            <a:ext cx="1631950" cy="1612900"/>
            <a:chOff x="5065713" y="3925888"/>
            <a:chExt cx="1631950" cy="1612900"/>
          </a:xfrm>
        </p:grpSpPr>
        <p:grpSp>
          <p:nvGrpSpPr>
            <p:cNvPr id="47" name="Group 21"/>
            <p:cNvGrpSpPr>
              <a:grpSpLocks/>
            </p:cNvGrpSpPr>
            <p:nvPr/>
          </p:nvGrpSpPr>
          <p:grpSpPr bwMode="auto">
            <a:xfrm>
              <a:off x="5065713" y="3925888"/>
              <a:ext cx="1631950" cy="1612900"/>
              <a:chOff x="0" y="0"/>
              <a:chExt cx="1110" cy="1096"/>
            </a:xfrm>
          </p:grpSpPr>
          <p:grpSp>
            <p:nvGrpSpPr>
              <p:cNvPr id="54" name="Group 22"/>
              <p:cNvGrpSpPr>
                <a:grpSpLocks/>
              </p:cNvGrpSpPr>
              <p:nvPr/>
            </p:nvGrpSpPr>
            <p:grpSpPr bwMode="auto">
              <a:xfrm>
                <a:off x="0" y="0"/>
                <a:ext cx="1110" cy="1096"/>
                <a:chOff x="0" y="0"/>
                <a:chExt cx="1110" cy="1096"/>
              </a:xfrm>
            </p:grpSpPr>
            <p:sp>
              <p:nvSpPr>
                <p:cNvPr id="58" name="Oval 26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1110" cy="1096"/>
                </a:xfrm>
                <a:prstGeom prst="ellipse">
                  <a:avLst/>
                </a:prstGeom>
                <a:solidFill>
                  <a:schemeClr val="hlink">
                    <a:alpha val="9999"/>
                  </a:scheme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l"/>
                  <a:endParaRPr lang="zh-CN" altLang="en-US">
                    <a:ea typeface="宋体" pitchFamily="2" charset="-122"/>
                  </a:endParaRPr>
                </a:p>
              </p:txBody>
            </p:sp>
            <p:sp>
              <p:nvSpPr>
                <p:cNvPr id="59" name="Oval 27"/>
                <p:cNvSpPr>
                  <a:spLocks noChangeArrowheads="1"/>
                </p:cNvSpPr>
                <p:nvPr/>
              </p:nvSpPr>
              <p:spPr bwMode="auto">
                <a:xfrm>
                  <a:off x="25" y="25"/>
                  <a:ext cx="1062" cy="1048"/>
                </a:xfrm>
                <a:prstGeom prst="ellipse">
                  <a:avLst/>
                </a:prstGeom>
                <a:solidFill>
                  <a:srgbClr val="817E00">
                    <a:alpha val="9999"/>
                  </a:srgb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l"/>
                  <a:endParaRPr lang="zh-CN" altLang="en-US">
                    <a:ea typeface="宋体" pitchFamily="2" charset="-122"/>
                  </a:endParaRPr>
                </a:p>
              </p:txBody>
            </p:sp>
          </p:grpSp>
          <p:grpSp>
            <p:nvGrpSpPr>
              <p:cNvPr id="55" name="Group 25"/>
              <p:cNvGrpSpPr>
                <a:grpSpLocks/>
              </p:cNvGrpSpPr>
              <p:nvPr/>
            </p:nvGrpSpPr>
            <p:grpSpPr bwMode="auto">
              <a:xfrm>
                <a:off x="49" y="48"/>
                <a:ext cx="1026" cy="1014"/>
                <a:chOff x="0" y="0"/>
                <a:chExt cx="1110" cy="1096"/>
              </a:xfrm>
            </p:grpSpPr>
            <p:sp>
              <p:nvSpPr>
                <p:cNvPr id="56" name="Oval 29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1110" cy="1096"/>
                </a:xfrm>
                <a:prstGeom prst="ellipse">
                  <a:avLst/>
                </a:prstGeom>
                <a:solidFill>
                  <a:srgbClr val="817E00">
                    <a:alpha val="9999"/>
                  </a:srgb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l"/>
                  <a:endParaRPr lang="zh-CN" altLang="en-US">
                    <a:ea typeface="宋体" pitchFamily="2" charset="-122"/>
                  </a:endParaRPr>
                </a:p>
              </p:txBody>
            </p:sp>
            <p:sp>
              <p:nvSpPr>
                <p:cNvPr id="57" name="Oval 30"/>
                <p:cNvSpPr>
                  <a:spLocks noChangeArrowheads="1"/>
                </p:cNvSpPr>
                <p:nvPr/>
              </p:nvSpPr>
              <p:spPr bwMode="auto">
                <a:xfrm>
                  <a:off x="25" y="25"/>
                  <a:ext cx="1062" cy="1048"/>
                </a:xfrm>
                <a:prstGeom prst="ellipse">
                  <a:avLst/>
                </a:prstGeom>
                <a:solidFill>
                  <a:srgbClr val="817E00">
                    <a:alpha val="9999"/>
                  </a:srgb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l"/>
                  <a:endParaRPr lang="zh-CN" altLang="en-US">
                    <a:ea typeface="宋体" pitchFamily="2" charset="-122"/>
                  </a:endParaRPr>
                </a:p>
              </p:txBody>
            </p:sp>
          </p:grpSp>
        </p:grpSp>
        <p:grpSp>
          <p:nvGrpSpPr>
            <p:cNvPr id="48" name="Group 36"/>
            <p:cNvGrpSpPr>
              <a:grpSpLocks/>
            </p:cNvGrpSpPr>
            <p:nvPr/>
          </p:nvGrpSpPr>
          <p:grpSpPr bwMode="auto">
            <a:xfrm>
              <a:off x="5167313" y="3987800"/>
              <a:ext cx="1466850" cy="1447800"/>
              <a:chOff x="0" y="0"/>
              <a:chExt cx="751" cy="741"/>
            </a:xfrm>
          </p:grpSpPr>
          <p:sp>
            <p:nvSpPr>
              <p:cNvPr id="52" name="Oval 40"/>
              <p:cNvSpPr>
                <a:spLocks noChangeArrowheads="1"/>
              </p:cNvSpPr>
              <p:nvPr/>
            </p:nvSpPr>
            <p:spPr bwMode="auto">
              <a:xfrm>
                <a:off x="20" y="32"/>
                <a:ext cx="716" cy="709"/>
              </a:xfrm>
              <a:prstGeom prst="ellipse">
                <a:avLst/>
              </a:prstGeom>
              <a:gradFill rotWithShape="1">
                <a:gsLst>
                  <a:gs pos="0">
                    <a:srgbClr val="0099CC"/>
                  </a:gs>
                  <a:gs pos="100000">
                    <a:srgbClr val="003141"/>
                  </a:gs>
                </a:gsLst>
                <a:lin ang="5400000" scaled="1"/>
              </a:gradFill>
              <a:ln w="38100" cap="flat" cmpd="sng">
                <a:solidFill>
                  <a:srgbClr val="F8F8F8">
                    <a:alpha val="75000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ea typeface="宋体" pitchFamily="2" charset="-122"/>
                </a:endParaRPr>
              </a:p>
            </p:txBody>
          </p:sp>
          <p:pic>
            <p:nvPicPr>
              <p:cNvPr id="53" name="Picture 41" descr="cir_lighteffect0"/>
              <p:cNvPicPr>
                <a:picLocks noChangeAspect="1" noChangeArrowheads="1"/>
              </p:cNvPicPr>
              <p:nvPr/>
            </p:nvPicPr>
            <p:blipFill>
              <a:blip r:embed="rId2" cstate="print">
                <a:lum bright="18000" contrast="-12000"/>
              </a:blip>
              <a:srcRect/>
              <a:stretch>
                <a:fillRect/>
              </a:stretch>
            </p:blipFill>
            <p:spPr bwMode="auto">
              <a:xfrm>
                <a:off x="0" y="0"/>
                <a:ext cx="751" cy="6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  <p:grpSp>
          <p:nvGrpSpPr>
            <p:cNvPr id="49" name="Group 39"/>
            <p:cNvGrpSpPr>
              <a:grpSpLocks/>
            </p:cNvGrpSpPr>
            <p:nvPr/>
          </p:nvGrpSpPr>
          <p:grpSpPr bwMode="auto">
            <a:xfrm>
              <a:off x="5149850" y="3987800"/>
              <a:ext cx="1466850" cy="1447800"/>
              <a:chOff x="0" y="0"/>
              <a:chExt cx="751" cy="741"/>
            </a:xfrm>
          </p:grpSpPr>
          <p:sp>
            <p:nvSpPr>
              <p:cNvPr id="50" name="Oval 43"/>
              <p:cNvSpPr>
                <a:spLocks noChangeArrowheads="1"/>
              </p:cNvSpPr>
              <p:nvPr/>
            </p:nvSpPr>
            <p:spPr bwMode="auto">
              <a:xfrm>
                <a:off x="20" y="32"/>
                <a:ext cx="716" cy="709"/>
              </a:xfrm>
              <a:prstGeom prst="ellipse">
                <a:avLst/>
              </a:prstGeom>
              <a:gradFill rotWithShape="1">
                <a:gsLst>
                  <a:gs pos="0">
                    <a:schemeClr val="hlink"/>
                  </a:gs>
                  <a:gs pos="100000">
                    <a:srgbClr val="120001"/>
                  </a:gs>
                </a:gsLst>
                <a:lin ang="5400000" scaled="1"/>
              </a:gradFill>
              <a:ln w="38100" cap="flat" cmpd="sng">
                <a:solidFill>
                  <a:srgbClr val="F8F8F8">
                    <a:alpha val="75000"/>
                  </a:srgb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ea typeface="宋体" pitchFamily="2" charset="-122"/>
                </a:endParaRPr>
              </a:p>
            </p:txBody>
          </p:sp>
          <p:pic>
            <p:nvPicPr>
              <p:cNvPr id="51" name="Picture 44" descr="cir_lighteffect0"/>
              <p:cNvPicPr>
                <a:picLocks noChangeAspect="1" noChangeArrowheads="1"/>
              </p:cNvPicPr>
              <p:nvPr/>
            </p:nvPicPr>
            <p:blipFill>
              <a:blip r:embed="rId2" cstate="print">
                <a:lum bright="18000" contrast="-12000"/>
              </a:blip>
              <a:srcRect/>
              <a:stretch>
                <a:fillRect/>
              </a:stretch>
            </p:blipFill>
            <p:spPr bwMode="auto">
              <a:xfrm>
                <a:off x="0" y="0"/>
                <a:ext cx="751" cy="6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</p:grpSp>
      <p:sp>
        <p:nvSpPr>
          <p:cNvPr id="60" name="AutoShape 69"/>
          <p:cNvSpPr>
            <a:spLocks noChangeArrowheads="1"/>
          </p:cNvSpPr>
          <p:nvPr/>
        </p:nvSpPr>
        <p:spPr bwMode="gray">
          <a:xfrm rot="5400000">
            <a:off x="2485233" y="3509401"/>
            <a:ext cx="288000" cy="432000"/>
          </a:xfrm>
          <a:prstGeom prst="chevron">
            <a:avLst>
              <a:gd name="adj" fmla="val 52514"/>
            </a:avLst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1" name="AutoShape 69"/>
          <p:cNvSpPr>
            <a:spLocks noChangeArrowheads="1"/>
          </p:cNvSpPr>
          <p:nvPr/>
        </p:nvSpPr>
        <p:spPr bwMode="gray">
          <a:xfrm rot="5400000">
            <a:off x="4406312" y="3509401"/>
            <a:ext cx="288000" cy="432000"/>
          </a:xfrm>
          <a:prstGeom prst="chevron">
            <a:avLst>
              <a:gd name="adj" fmla="val 52514"/>
            </a:avLst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2" name="AutoShape 69"/>
          <p:cNvSpPr>
            <a:spLocks noChangeArrowheads="1"/>
          </p:cNvSpPr>
          <p:nvPr/>
        </p:nvSpPr>
        <p:spPr bwMode="gray">
          <a:xfrm rot="5400000">
            <a:off x="6342771" y="3509401"/>
            <a:ext cx="288000" cy="432000"/>
          </a:xfrm>
          <a:prstGeom prst="chevron">
            <a:avLst>
              <a:gd name="adj" fmla="val 52514"/>
            </a:avLst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3" name="矩形 62"/>
          <p:cNvSpPr/>
          <p:nvPr/>
        </p:nvSpPr>
        <p:spPr>
          <a:xfrm>
            <a:off x="2286000" y="2531378"/>
            <a:ext cx="64633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文本</a:t>
            </a:r>
            <a:endParaRPr lang="zh-CN" altLang="en-US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4" name="矩形 63"/>
          <p:cNvSpPr/>
          <p:nvPr/>
        </p:nvSpPr>
        <p:spPr>
          <a:xfrm>
            <a:off x="4198690" y="2531378"/>
            <a:ext cx="64633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文本</a:t>
            </a:r>
            <a:endParaRPr lang="zh-CN" altLang="en-US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5" name="矩形 64"/>
          <p:cNvSpPr/>
          <p:nvPr/>
        </p:nvSpPr>
        <p:spPr>
          <a:xfrm>
            <a:off x="6135149" y="2531378"/>
            <a:ext cx="64633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文本</a:t>
            </a:r>
            <a:endParaRPr lang="zh-CN" altLang="en-US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7" name="AutoShape 3"/>
          <p:cNvSpPr>
            <a:spLocks noChangeArrowheads="1"/>
          </p:cNvSpPr>
          <p:nvPr/>
        </p:nvSpPr>
        <p:spPr bwMode="auto">
          <a:xfrm>
            <a:off x="2057400" y="4191000"/>
            <a:ext cx="4953000" cy="1143000"/>
          </a:xfrm>
          <a:prstGeom prst="round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zh-CN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6" name="Text Box 11"/>
          <p:cNvSpPr txBox="1">
            <a:spLocks noChangeArrowheads="1"/>
          </p:cNvSpPr>
          <p:nvPr/>
        </p:nvSpPr>
        <p:spPr bwMode="auto">
          <a:xfrm>
            <a:off x="1905000" y="4543802"/>
            <a:ext cx="52578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zh-CN" altLang="en-US" sz="2000" b="1" dirty="0">
                <a:solidFill>
                  <a:srgbClr val="020202"/>
                </a:solidFill>
                <a:latin typeface="Arial" pitchFamily="34" charset="0"/>
                <a:ea typeface="宋体" pitchFamily="2" charset="-122"/>
              </a:rPr>
              <a:t>点击输入文本信息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900" decel="100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900" decel="100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500"/>
                            </p:stCondLst>
                            <p:childTnLst>
                              <p:par>
                                <p:cTn id="34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900" decel="100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900" decel="100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500"/>
                            </p:stCondLst>
                            <p:childTnLst>
                              <p:par>
                                <p:cTn id="48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5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6000"/>
                            </p:stCondLst>
                            <p:childTnLst>
                              <p:par>
                                <p:cTn id="52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5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6500"/>
                            </p:stCondLst>
                            <p:childTnLst>
                              <p:par>
                                <p:cTn id="56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58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7000"/>
                            </p:stCondLst>
                            <p:childTnLst>
                              <p:par>
                                <p:cTn id="60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  <p:bldP spid="61" grpId="0" animBg="1"/>
      <p:bldP spid="62" grpId="0" animBg="1"/>
      <p:bldP spid="63" grpId="0"/>
      <p:bldP spid="64" grpId="0"/>
      <p:bldP spid="65" grpId="0"/>
      <p:bldP spid="67" grpId="0" animBg="1"/>
      <p:bldP spid="96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矩形 20"/>
          <p:cNvSpPr/>
          <p:nvPr/>
        </p:nvSpPr>
        <p:spPr bwMode="auto">
          <a:xfrm>
            <a:off x="3790970" y="1515646"/>
            <a:ext cx="4004565" cy="133247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alpha val="50000"/>
                </a:schemeClr>
              </a:gs>
              <a:gs pos="100000">
                <a:schemeClr val="bg1">
                  <a:lumMod val="50000"/>
                  <a:alpha val="50000"/>
                </a:schemeClr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>
              <a:rot lat="17373598" lon="0" rev="0"/>
            </a:camera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" name="矩形 21"/>
          <p:cNvSpPr/>
          <p:nvPr/>
        </p:nvSpPr>
        <p:spPr bwMode="auto">
          <a:xfrm>
            <a:off x="3347616" y="2332859"/>
            <a:ext cx="4442564" cy="133247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alpha val="50000"/>
                </a:schemeClr>
              </a:gs>
              <a:gs pos="100000">
                <a:schemeClr val="bg1">
                  <a:lumMod val="50000"/>
                  <a:alpha val="50000"/>
                </a:schemeClr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>
              <a:rot lat="17373598" lon="0" rev="0"/>
            </a:camera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矩形 22"/>
          <p:cNvSpPr/>
          <p:nvPr/>
        </p:nvSpPr>
        <p:spPr bwMode="auto">
          <a:xfrm>
            <a:off x="2893275" y="3150072"/>
            <a:ext cx="4880563" cy="133247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alpha val="50000"/>
                </a:schemeClr>
              </a:gs>
              <a:gs pos="100000">
                <a:schemeClr val="bg1">
                  <a:lumMod val="50000"/>
                  <a:alpha val="50000"/>
                </a:schemeClr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>
              <a:rot lat="17373598" lon="0" rev="0"/>
            </a:camera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/>
          <p:cNvSpPr/>
          <p:nvPr/>
        </p:nvSpPr>
        <p:spPr bwMode="auto">
          <a:xfrm>
            <a:off x="2398991" y="3967285"/>
            <a:ext cx="5349848" cy="133247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alpha val="50000"/>
                </a:schemeClr>
              </a:gs>
              <a:gs pos="100000">
                <a:schemeClr val="bg1">
                  <a:lumMod val="50000"/>
                  <a:alpha val="50000"/>
                </a:schemeClr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>
              <a:rot lat="17373598" lon="0" rev="0"/>
            </a:camera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" name="矩形 24"/>
          <p:cNvSpPr/>
          <p:nvPr/>
        </p:nvSpPr>
        <p:spPr bwMode="auto">
          <a:xfrm>
            <a:off x="1976948" y="4784498"/>
            <a:ext cx="5787848" cy="133247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alpha val="50000"/>
                </a:schemeClr>
              </a:gs>
              <a:gs pos="100000">
                <a:schemeClr val="bg1">
                  <a:lumMod val="50000"/>
                  <a:alpha val="50000"/>
                </a:schemeClr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>
              <a:rot lat="17373598" lon="0" rev="0"/>
            </a:camera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TextBox 25"/>
          <p:cNvSpPr txBox="1">
            <a:spLocks noChangeArrowheads="1"/>
          </p:cNvSpPr>
          <p:nvPr/>
        </p:nvSpPr>
        <p:spPr bwMode="auto">
          <a:xfrm>
            <a:off x="4867100" y="1371600"/>
            <a:ext cx="2898574" cy="42719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20000"/>
              <a:defRPr/>
            </a:pPr>
            <a:r>
              <a:rPr lang="zh-CN" altLang="en-US" sz="2400" b="1" spc="300" dirty="0">
                <a:ln w="1270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rgbClr val="00B0F0"/>
                    </a:gs>
                    <a:gs pos="75000">
                      <a:srgbClr val="002774"/>
                    </a:gs>
                  </a:gsLst>
                  <a:lin ang="5400000"/>
                </a:gradFill>
                <a:effectLst>
                  <a:glow rad="45500">
                    <a:srgbClr val="00B0F0">
                      <a:alpha val="35000"/>
                    </a:srgbClr>
                  </a:glow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27" name="TextBox 34"/>
          <p:cNvSpPr txBox="1">
            <a:spLocks noChangeArrowheads="1"/>
          </p:cNvSpPr>
          <p:nvPr/>
        </p:nvSpPr>
        <p:spPr bwMode="auto">
          <a:xfrm>
            <a:off x="4518045" y="2048184"/>
            <a:ext cx="2511923" cy="312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zh-CN" altLang="en-US" sz="16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grpSp>
        <p:nvGrpSpPr>
          <p:cNvPr id="52" name="组合 51"/>
          <p:cNvGrpSpPr/>
          <p:nvPr/>
        </p:nvGrpSpPr>
        <p:grpSpPr>
          <a:xfrm>
            <a:off x="3557706" y="2666040"/>
            <a:ext cx="399742" cy="399742"/>
            <a:chOff x="3557706" y="2666040"/>
            <a:chExt cx="399742" cy="399742"/>
          </a:xfrm>
        </p:grpSpPr>
        <p:sp>
          <p:nvSpPr>
            <p:cNvPr id="28" name="圆角矩形 27"/>
            <p:cNvSpPr>
              <a:spLocks noChangeAspect="1"/>
            </p:cNvSpPr>
            <p:nvPr/>
          </p:nvSpPr>
          <p:spPr bwMode="auto">
            <a:xfrm>
              <a:off x="3557706" y="2666040"/>
              <a:ext cx="399742" cy="399742"/>
            </a:xfrm>
            <a:prstGeom prst="roundRect">
              <a:avLst/>
            </a:prstGeom>
            <a:gradFill>
              <a:gsLst>
                <a:gs pos="50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5400000" scaled="0"/>
            </a:gradFill>
            <a:ln w="38100">
              <a:gradFill>
                <a:gsLst>
                  <a:gs pos="50000">
                    <a:srgbClr val="FFCF01"/>
                  </a:gs>
                  <a:gs pos="100000">
                    <a:srgbClr val="E22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52400" h="127000" prst="convex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9" name="TextBox 61"/>
            <p:cNvSpPr txBox="1">
              <a:spLocks noChangeArrowheads="1"/>
            </p:cNvSpPr>
            <p:nvPr/>
          </p:nvSpPr>
          <p:spPr bwMode="auto">
            <a:xfrm>
              <a:off x="3582317" y="2723906"/>
              <a:ext cx="351082" cy="2849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en-US" altLang="zh-CN" sz="1400" b="1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2</a:t>
              </a:r>
              <a:endParaRPr lang="zh-CN" altLang="en-US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30" name="TextBox 71"/>
          <p:cNvSpPr txBox="1">
            <a:spLocks noChangeArrowheads="1"/>
          </p:cNvSpPr>
          <p:nvPr/>
        </p:nvSpPr>
        <p:spPr bwMode="auto">
          <a:xfrm>
            <a:off x="4034756" y="2835547"/>
            <a:ext cx="2513392" cy="312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zh-CN" altLang="en-US" sz="16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grpSp>
        <p:nvGrpSpPr>
          <p:cNvPr id="53" name="组合 52"/>
          <p:cNvGrpSpPr/>
          <p:nvPr/>
        </p:nvGrpSpPr>
        <p:grpSpPr>
          <a:xfrm>
            <a:off x="3151570" y="3475379"/>
            <a:ext cx="399742" cy="399742"/>
            <a:chOff x="3151570" y="3475379"/>
            <a:chExt cx="399742" cy="399742"/>
          </a:xfrm>
        </p:grpSpPr>
        <p:sp>
          <p:nvSpPr>
            <p:cNvPr id="31" name="圆角矩形 30"/>
            <p:cNvSpPr>
              <a:spLocks noChangeAspect="1"/>
            </p:cNvSpPr>
            <p:nvPr/>
          </p:nvSpPr>
          <p:spPr bwMode="auto">
            <a:xfrm>
              <a:off x="3151570" y="3475379"/>
              <a:ext cx="399742" cy="399742"/>
            </a:xfrm>
            <a:prstGeom prst="roundRect">
              <a:avLst/>
            </a:prstGeom>
            <a:gradFill>
              <a:gsLst>
                <a:gs pos="50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5400000" scaled="0"/>
            </a:gradFill>
            <a:ln w="38100">
              <a:gradFill>
                <a:gsLst>
                  <a:gs pos="50000">
                    <a:srgbClr val="FF0000"/>
                  </a:gs>
                  <a:gs pos="100000">
                    <a:srgbClr val="860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52400" h="127000" prst="convex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2" name="TextBox 61"/>
            <p:cNvSpPr txBox="1">
              <a:spLocks noChangeArrowheads="1"/>
            </p:cNvSpPr>
            <p:nvPr/>
          </p:nvSpPr>
          <p:spPr bwMode="auto">
            <a:xfrm>
              <a:off x="3175415" y="3533304"/>
              <a:ext cx="351081" cy="2849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en-US" altLang="zh-CN" sz="1400" b="1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3</a:t>
              </a:r>
              <a:endParaRPr lang="zh-CN" altLang="en-US" sz="1400" b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54" name="组合 53"/>
          <p:cNvGrpSpPr/>
          <p:nvPr/>
        </p:nvGrpSpPr>
        <p:grpSpPr>
          <a:xfrm>
            <a:off x="2657527" y="4306695"/>
            <a:ext cx="399742" cy="399742"/>
            <a:chOff x="2657527" y="4306695"/>
            <a:chExt cx="399742" cy="399742"/>
          </a:xfrm>
        </p:grpSpPr>
        <p:sp>
          <p:nvSpPr>
            <p:cNvPr id="33" name="圆角矩形 32"/>
            <p:cNvSpPr>
              <a:spLocks noChangeAspect="1"/>
            </p:cNvSpPr>
            <p:nvPr/>
          </p:nvSpPr>
          <p:spPr bwMode="auto">
            <a:xfrm>
              <a:off x="2657527" y="4306695"/>
              <a:ext cx="399742" cy="399742"/>
            </a:xfrm>
            <a:prstGeom prst="roundRect">
              <a:avLst/>
            </a:prstGeom>
            <a:gradFill>
              <a:gsLst>
                <a:gs pos="50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5400000" scaled="0"/>
            </a:gradFill>
            <a:ln w="38100">
              <a:gradFill>
                <a:gsLst>
                  <a:gs pos="50000">
                    <a:srgbClr val="F3219E"/>
                  </a:gs>
                  <a:gs pos="100000">
                    <a:srgbClr val="610348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52400" h="127000" prst="convex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4" name="TextBox 61"/>
            <p:cNvSpPr txBox="1">
              <a:spLocks noChangeArrowheads="1"/>
            </p:cNvSpPr>
            <p:nvPr/>
          </p:nvSpPr>
          <p:spPr bwMode="auto">
            <a:xfrm>
              <a:off x="2681844" y="4364735"/>
              <a:ext cx="351081" cy="2835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en-US" altLang="zh-CN" sz="1400" b="1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4</a:t>
              </a:r>
              <a:endParaRPr lang="zh-CN" altLang="en-US" sz="1400" b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2229415" y="5125553"/>
            <a:ext cx="399742" cy="399742"/>
            <a:chOff x="2229415" y="5125553"/>
            <a:chExt cx="399742" cy="399742"/>
          </a:xfrm>
        </p:grpSpPr>
        <p:sp>
          <p:nvSpPr>
            <p:cNvPr id="35" name="圆角矩形 34"/>
            <p:cNvSpPr>
              <a:spLocks noChangeAspect="1"/>
            </p:cNvSpPr>
            <p:nvPr/>
          </p:nvSpPr>
          <p:spPr bwMode="auto">
            <a:xfrm>
              <a:off x="2229415" y="5125553"/>
              <a:ext cx="399742" cy="399742"/>
            </a:xfrm>
            <a:prstGeom prst="roundRect">
              <a:avLst/>
            </a:prstGeom>
            <a:gradFill>
              <a:gsLst>
                <a:gs pos="50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5400000" scaled="0"/>
            </a:gradFill>
            <a:ln w="38100">
              <a:gradFill>
                <a:gsLst>
                  <a:gs pos="50000">
                    <a:srgbClr val="00DFF6"/>
                  </a:gs>
                  <a:gs pos="100000">
                    <a:srgbClr val="002774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52400" h="127000" prst="convex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6" name="TextBox 61"/>
            <p:cNvSpPr txBox="1">
              <a:spLocks noChangeArrowheads="1"/>
            </p:cNvSpPr>
            <p:nvPr/>
          </p:nvSpPr>
          <p:spPr bwMode="auto">
            <a:xfrm>
              <a:off x="2254376" y="5182945"/>
              <a:ext cx="349613" cy="2849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en-US" altLang="zh-CN" sz="1400" b="1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5</a:t>
              </a:r>
              <a:endParaRPr lang="zh-CN" altLang="en-US" sz="1400" b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37" name="任意多边形 36"/>
          <p:cNvSpPr/>
          <p:nvPr/>
        </p:nvSpPr>
        <p:spPr>
          <a:xfrm>
            <a:off x="1143000" y="1629963"/>
            <a:ext cx="2378066" cy="4121873"/>
          </a:xfrm>
          <a:custGeom>
            <a:avLst/>
            <a:gdLst>
              <a:gd name="connsiteX0" fmla="*/ 0 w 2755557"/>
              <a:gd name="connsiteY0" fmla="*/ 4411362 h 4411362"/>
              <a:gd name="connsiteX1" fmla="*/ 2483708 w 2755557"/>
              <a:gd name="connsiteY1" fmla="*/ 185352 h 4411362"/>
              <a:gd name="connsiteX2" fmla="*/ 2397211 w 2755557"/>
              <a:gd name="connsiteY2" fmla="*/ 123568 h 4411362"/>
              <a:gd name="connsiteX3" fmla="*/ 2730844 w 2755557"/>
              <a:gd name="connsiteY3" fmla="*/ 0 h 4411362"/>
              <a:gd name="connsiteX4" fmla="*/ 2755557 w 2755557"/>
              <a:gd name="connsiteY4" fmla="*/ 321276 h 4411362"/>
              <a:gd name="connsiteX5" fmla="*/ 2669060 w 2755557"/>
              <a:gd name="connsiteY5" fmla="*/ 271849 h 4411362"/>
              <a:gd name="connsiteX6" fmla="*/ 0 w 2755557"/>
              <a:gd name="connsiteY6" fmla="*/ 4411362 h 4411362"/>
              <a:gd name="connsiteX0" fmla="*/ 0 w 3152139"/>
              <a:gd name="connsiteY0" fmla="*/ 4411362 h 4411362"/>
              <a:gd name="connsiteX1" fmla="*/ 2483708 w 3152139"/>
              <a:gd name="connsiteY1" fmla="*/ 185352 h 4411362"/>
              <a:gd name="connsiteX2" fmla="*/ 2397211 w 3152139"/>
              <a:gd name="connsiteY2" fmla="*/ 123568 h 4411362"/>
              <a:gd name="connsiteX3" fmla="*/ 2730844 w 3152139"/>
              <a:gd name="connsiteY3" fmla="*/ 0 h 4411362"/>
              <a:gd name="connsiteX4" fmla="*/ 2755557 w 3152139"/>
              <a:gd name="connsiteY4" fmla="*/ 321276 h 4411362"/>
              <a:gd name="connsiteX5" fmla="*/ 3152139 w 3152139"/>
              <a:gd name="connsiteY5" fmla="*/ 2212793 h 4411362"/>
              <a:gd name="connsiteX6" fmla="*/ 0 w 3152139"/>
              <a:gd name="connsiteY6" fmla="*/ 4411362 h 4411362"/>
              <a:gd name="connsiteX0" fmla="*/ 0 w 2755557"/>
              <a:gd name="connsiteY0" fmla="*/ 4411362 h 4411362"/>
              <a:gd name="connsiteX1" fmla="*/ 2483708 w 2755557"/>
              <a:gd name="connsiteY1" fmla="*/ 185352 h 4411362"/>
              <a:gd name="connsiteX2" fmla="*/ 2397211 w 2755557"/>
              <a:gd name="connsiteY2" fmla="*/ 123568 h 4411362"/>
              <a:gd name="connsiteX3" fmla="*/ 2730844 w 2755557"/>
              <a:gd name="connsiteY3" fmla="*/ 0 h 4411362"/>
              <a:gd name="connsiteX4" fmla="*/ 2755557 w 2755557"/>
              <a:gd name="connsiteY4" fmla="*/ 321276 h 4411362"/>
              <a:gd name="connsiteX5" fmla="*/ 2643180 w 2755557"/>
              <a:gd name="connsiteY5" fmla="*/ 323608 h 4411362"/>
              <a:gd name="connsiteX6" fmla="*/ 0 w 2755557"/>
              <a:gd name="connsiteY6" fmla="*/ 4411362 h 4411362"/>
              <a:gd name="connsiteX0" fmla="*/ 0 w 3928749"/>
              <a:gd name="connsiteY0" fmla="*/ 4411362 h 4411362"/>
              <a:gd name="connsiteX1" fmla="*/ 2483708 w 3928749"/>
              <a:gd name="connsiteY1" fmla="*/ 185352 h 4411362"/>
              <a:gd name="connsiteX2" fmla="*/ 2397211 w 3928749"/>
              <a:gd name="connsiteY2" fmla="*/ 123568 h 4411362"/>
              <a:gd name="connsiteX3" fmla="*/ 2730844 w 3928749"/>
              <a:gd name="connsiteY3" fmla="*/ 0 h 4411362"/>
              <a:gd name="connsiteX4" fmla="*/ 3928749 w 3928749"/>
              <a:gd name="connsiteY4" fmla="*/ 2417495 h 4411362"/>
              <a:gd name="connsiteX5" fmla="*/ 2643180 w 3928749"/>
              <a:gd name="connsiteY5" fmla="*/ 323608 h 4411362"/>
              <a:gd name="connsiteX6" fmla="*/ 0 w 3928749"/>
              <a:gd name="connsiteY6" fmla="*/ 4411362 h 4411362"/>
              <a:gd name="connsiteX0" fmla="*/ 0 w 2738304"/>
              <a:gd name="connsiteY0" fmla="*/ 4411362 h 4411362"/>
              <a:gd name="connsiteX1" fmla="*/ 2483708 w 2738304"/>
              <a:gd name="connsiteY1" fmla="*/ 185352 h 4411362"/>
              <a:gd name="connsiteX2" fmla="*/ 2397211 w 2738304"/>
              <a:gd name="connsiteY2" fmla="*/ 123568 h 4411362"/>
              <a:gd name="connsiteX3" fmla="*/ 2730844 w 2738304"/>
              <a:gd name="connsiteY3" fmla="*/ 0 h 4411362"/>
              <a:gd name="connsiteX4" fmla="*/ 2738304 w 2738304"/>
              <a:gd name="connsiteY4" fmla="*/ 373034 h 4411362"/>
              <a:gd name="connsiteX5" fmla="*/ 2643180 w 2738304"/>
              <a:gd name="connsiteY5" fmla="*/ 323608 h 4411362"/>
              <a:gd name="connsiteX6" fmla="*/ 0 w 2738304"/>
              <a:gd name="connsiteY6" fmla="*/ 4411362 h 4411362"/>
              <a:gd name="connsiteX0" fmla="*/ 0 w 4766678"/>
              <a:gd name="connsiteY0" fmla="*/ 4635648 h 4635648"/>
              <a:gd name="connsiteX1" fmla="*/ 2483708 w 4766678"/>
              <a:gd name="connsiteY1" fmla="*/ 409638 h 4635648"/>
              <a:gd name="connsiteX2" fmla="*/ 2397211 w 4766678"/>
              <a:gd name="connsiteY2" fmla="*/ 347854 h 4635648"/>
              <a:gd name="connsiteX3" fmla="*/ 4766678 w 4766678"/>
              <a:gd name="connsiteY3" fmla="*/ 0 h 4635648"/>
              <a:gd name="connsiteX4" fmla="*/ 2738304 w 4766678"/>
              <a:gd name="connsiteY4" fmla="*/ 597320 h 4635648"/>
              <a:gd name="connsiteX5" fmla="*/ 2643180 w 4766678"/>
              <a:gd name="connsiteY5" fmla="*/ 547894 h 4635648"/>
              <a:gd name="connsiteX6" fmla="*/ 0 w 4766678"/>
              <a:gd name="connsiteY6" fmla="*/ 4635648 h 4635648"/>
              <a:gd name="connsiteX0" fmla="*/ 0 w 2748097"/>
              <a:gd name="connsiteY0" fmla="*/ 4454493 h 4454493"/>
              <a:gd name="connsiteX1" fmla="*/ 2483708 w 2748097"/>
              <a:gd name="connsiteY1" fmla="*/ 228483 h 4454493"/>
              <a:gd name="connsiteX2" fmla="*/ 2397211 w 2748097"/>
              <a:gd name="connsiteY2" fmla="*/ 166699 h 4454493"/>
              <a:gd name="connsiteX3" fmla="*/ 2748097 w 2748097"/>
              <a:gd name="connsiteY3" fmla="*/ 0 h 4454493"/>
              <a:gd name="connsiteX4" fmla="*/ 2738304 w 2748097"/>
              <a:gd name="connsiteY4" fmla="*/ 416165 h 4454493"/>
              <a:gd name="connsiteX5" fmla="*/ 2643180 w 2748097"/>
              <a:gd name="connsiteY5" fmla="*/ 366739 h 4454493"/>
              <a:gd name="connsiteX6" fmla="*/ 0 w 2748097"/>
              <a:gd name="connsiteY6" fmla="*/ 4454493 h 4454493"/>
              <a:gd name="connsiteX0" fmla="*/ 0 w 2569967"/>
              <a:gd name="connsiteY0" fmla="*/ 4454493 h 4454493"/>
              <a:gd name="connsiteX1" fmla="*/ 2305578 w 2569967"/>
              <a:gd name="connsiteY1" fmla="*/ 228483 h 4454493"/>
              <a:gd name="connsiteX2" fmla="*/ 2219081 w 2569967"/>
              <a:gd name="connsiteY2" fmla="*/ 166699 h 4454493"/>
              <a:gd name="connsiteX3" fmla="*/ 2569967 w 2569967"/>
              <a:gd name="connsiteY3" fmla="*/ 0 h 4454493"/>
              <a:gd name="connsiteX4" fmla="*/ 2560174 w 2569967"/>
              <a:gd name="connsiteY4" fmla="*/ 416165 h 4454493"/>
              <a:gd name="connsiteX5" fmla="*/ 2465050 w 2569967"/>
              <a:gd name="connsiteY5" fmla="*/ 366739 h 4454493"/>
              <a:gd name="connsiteX6" fmla="*/ 0 w 2569967"/>
              <a:gd name="connsiteY6" fmla="*/ 4454493 h 4454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69967" h="4454493">
                <a:moveTo>
                  <a:pt x="0" y="4454493"/>
                </a:moveTo>
                <a:lnTo>
                  <a:pt x="2305578" y="228483"/>
                </a:lnTo>
                <a:lnTo>
                  <a:pt x="2219081" y="166699"/>
                </a:lnTo>
                <a:lnTo>
                  <a:pt x="2569967" y="0"/>
                </a:lnTo>
                <a:lnTo>
                  <a:pt x="2560174" y="416165"/>
                </a:lnTo>
                <a:lnTo>
                  <a:pt x="2465050" y="366739"/>
                </a:lnTo>
                <a:lnTo>
                  <a:pt x="0" y="4454493"/>
                </a:lnTo>
                <a:close/>
              </a:path>
            </a:pathLst>
          </a:custGeom>
          <a:gradFill flip="none" rotWithShape="1">
            <a:gsLst>
              <a:gs pos="0">
                <a:srgbClr val="00DFF6"/>
              </a:gs>
              <a:gs pos="70000">
                <a:srgbClr val="002774"/>
              </a:gs>
            </a:gsLst>
            <a:lin ang="54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>
              <a:rot lat="0" lon="0" rev="3000000"/>
            </a:lightRig>
          </a:scene3d>
          <a:sp3d contourW="19050">
            <a:bevelT prst="convex"/>
            <a:bevelB w="0" h="0"/>
            <a:contourClr>
              <a:srgbClr val="AFEAFF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8" name="TextBox 34"/>
          <p:cNvSpPr txBox="1">
            <a:spLocks noChangeArrowheads="1"/>
          </p:cNvSpPr>
          <p:nvPr/>
        </p:nvSpPr>
        <p:spPr bwMode="auto">
          <a:xfrm>
            <a:off x="3616103" y="3674324"/>
            <a:ext cx="2513391" cy="3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zh-CN" altLang="en-US" sz="16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9" name="TextBox 71"/>
          <p:cNvSpPr txBox="1">
            <a:spLocks noChangeArrowheads="1"/>
          </p:cNvSpPr>
          <p:nvPr/>
        </p:nvSpPr>
        <p:spPr bwMode="auto">
          <a:xfrm>
            <a:off x="3132815" y="4473438"/>
            <a:ext cx="2513392" cy="3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zh-CN" altLang="en-US" sz="16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40" name="TextBox 71"/>
          <p:cNvSpPr txBox="1">
            <a:spLocks noChangeArrowheads="1"/>
          </p:cNvSpPr>
          <p:nvPr/>
        </p:nvSpPr>
        <p:spPr bwMode="auto">
          <a:xfrm>
            <a:off x="2693596" y="5297524"/>
            <a:ext cx="2513391" cy="312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zh-CN" altLang="en-US" sz="16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grpSp>
        <p:nvGrpSpPr>
          <p:cNvPr id="51" name="组合 50"/>
          <p:cNvGrpSpPr/>
          <p:nvPr/>
        </p:nvGrpSpPr>
        <p:grpSpPr>
          <a:xfrm>
            <a:off x="4029773" y="1867688"/>
            <a:ext cx="399742" cy="399742"/>
            <a:chOff x="4029773" y="1867688"/>
            <a:chExt cx="399742" cy="399742"/>
          </a:xfrm>
        </p:grpSpPr>
        <p:sp>
          <p:nvSpPr>
            <p:cNvPr id="41" name="圆角矩形 40"/>
            <p:cNvSpPr>
              <a:spLocks noChangeAspect="1"/>
            </p:cNvSpPr>
            <p:nvPr/>
          </p:nvSpPr>
          <p:spPr bwMode="auto">
            <a:xfrm>
              <a:off x="4029773" y="1867688"/>
              <a:ext cx="399742" cy="399742"/>
            </a:xfrm>
            <a:prstGeom prst="roundRect">
              <a:avLst/>
            </a:prstGeom>
            <a:gradFill>
              <a:gsLst>
                <a:gs pos="50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5400000" scaled="0"/>
            </a:gradFill>
            <a:ln w="38100">
              <a:gradFill>
                <a:gsLst>
                  <a:gs pos="50000">
                    <a:srgbClr val="6EFF01"/>
                  </a:gs>
                  <a:gs pos="100000">
                    <a:srgbClr val="0F5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52400" h="127000" prst="convex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2" name="TextBox 61"/>
            <p:cNvSpPr txBox="1">
              <a:spLocks noChangeArrowheads="1"/>
            </p:cNvSpPr>
            <p:nvPr/>
          </p:nvSpPr>
          <p:spPr bwMode="auto">
            <a:xfrm>
              <a:off x="4053853" y="1924791"/>
              <a:ext cx="351081" cy="2849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en-US" altLang="zh-CN" sz="1400" b="1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1</a:t>
              </a:r>
              <a:endParaRPr lang="zh-CN" altLang="en-US" sz="14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000"/>
                            </p:stCondLst>
                            <p:childTnLst>
                              <p:par>
                                <p:cTn id="3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000"/>
                            </p:stCondLst>
                            <p:childTnLst>
                              <p:par>
                                <p:cTn id="4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500"/>
                            </p:stCondLst>
                            <p:childTnLst>
                              <p:par>
                                <p:cTn id="4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0"/>
                            </p:stCondLst>
                            <p:childTnLst>
                              <p:par>
                                <p:cTn id="5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500"/>
                            </p:stCondLst>
                            <p:childTnLst>
                              <p:par>
                                <p:cTn id="5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6000"/>
                            </p:stCondLst>
                            <p:childTnLst>
                              <p:par>
                                <p:cTn id="6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500"/>
                            </p:stCondLst>
                            <p:childTnLst>
                              <p:par>
                                <p:cTn id="6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7000"/>
                            </p:stCondLst>
                            <p:childTnLst>
                              <p:par>
                                <p:cTn id="7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7500"/>
                            </p:stCondLst>
                            <p:childTnLst>
                              <p:par>
                                <p:cTn id="7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8500"/>
                            </p:stCondLst>
                            <p:childTnLst>
                              <p:par>
                                <p:cTn id="80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900" decel="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 animBg="1"/>
      <p:bldP spid="24" grpId="0" animBg="1"/>
      <p:bldP spid="25" grpId="0" animBg="1"/>
      <p:bldP spid="26" grpId="0"/>
      <p:bldP spid="27" grpId="0"/>
      <p:bldP spid="30" grpId="0"/>
      <p:bldP spid="37" grpId="0" animBg="1"/>
      <p:bldP spid="38" grpId="0"/>
      <p:bldP spid="39" grpId="0"/>
      <p:bldP spid="40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圆角矩形 37"/>
          <p:cNvSpPr/>
          <p:nvPr/>
        </p:nvSpPr>
        <p:spPr>
          <a:xfrm>
            <a:off x="869652" y="2115000"/>
            <a:ext cx="7560000" cy="3600000"/>
          </a:xfrm>
          <a:prstGeom prst="roundRect">
            <a:avLst>
              <a:gd name="adj" fmla="val 4510"/>
            </a:avLst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35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270000" contourW="19050">
            <a:bevelT w="101600" prst="convex"/>
            <a:bevelB w="0" h="508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2215119" y="1586942"/>
            <a:ext cx="2174644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spc="300" dirty="0">
                <a:ln w="1270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rgbClr val="00B0F0"/>
                    </a:gs>
                    <a:gs pos="75000">
                      <a:srgbClr val="002774"/>
                    </a:gs>
                  </a:gsLst>
                  <a:lin ang="5400000"/>
                </a:gradFill>
                <a:effectLst>
                  <a:glow rad="45500">
                    <a:srgbClr val="00B0F0">
                      <a:alpha val="35000"/>
                    </a:srgbClr>
                  </a:glow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40" name="AutoShape 3"/>
          <p:cNvSpPr>
            <a:spLocks noChangeArrowheads="1"/>
          </p:cNvSpPr>
          <p:nvPr/>
        </p:nvSpPr>
        <p:spPr bwMode="auto">
          <a:xfrm>
            <a:off x="1726467" y="2609628"/>
            <a:ext cx="3572082" cy="288000"/>
          </a:xfrm>
          <a:prstGeom prst="round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52400" contourW="19050">
            <a:bevelT w="101600" prst="convex"/>
            <a:bevelB w="0" h="381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1" name="矩形 19"/>
          <p:cNvSpPr>
            <a:spLocks noChangeArrowheads="1"/>
          </p:cNvSpPr>
          <p:nvPr/>
        </p:nvSpPr>
        <p:spPr bwMode="auto">
          <a:xfrm>
            <a:off x="1051677" y="2589667"/>
            <a:ext cx="6350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zh-CN" altLang="en-US" sz="1400" dirty="0">
                <a:latin typeface="Calibri" pitchFamily="34" charset="0"/>
                <a:ea typeface="微软雅黑" pitchFamily="34" charset="-122"/>
              </a:rPr>
              <a:t>北京</a:t>
            </a:r>
          </a:p>
        </p:txBody>
      </p:sp>
      <p:sp>
        <p:nvSpPr>
          <p:cNvPr id="42" name="AutoShape 3"/>
          <p:cNvSpPr>
            <a:spLocks noChangeArrowheads="1"/>
          </p:cNvSpPr>
          <p:nvPr/>
        </p:nvSpPr>
        <p:spPr bwMode="auto">
          <a:xfrm>
            <a:off x="1726467" y="3200804"/>
            <a:ext cx="2988000" cy="288000"/>
          </a:xfrm>
          <a:prstGeom prst="roundRect">
            <a:avLst/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52400" contourW="19050">
            <a:bevelT w="101600" prst="convex"/>
            <a:bevelB w="0" h="38100"/>
            <a:contourClr>
              <a:srgbClr val="AFEAFF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3" name="AutoShape 3"/>
          <p:cNvSpPr>
            <a:spLocks noChangeArrowheads="1"/>
          </p:cNvSpPr>
          <p:nvPr/>
        </p:nvSpPr>
        <p:spPr bwMode="auto">
          <a:xfrm>
            <a:off x="1726467" y="3791979"/>
            <a:ext cx="1908000" cy="288000"/>
          </a:xfrm>
          <a:prstGeom prst="round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52400" contourW="19050">
            <a:bevelT w="101600" prst="convex"/>
            <a:bevelB w="0" h="381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" name="AutoShape 3"/>
          <p:cNvSpPr>
            <a:spLocks noChangeArrowheads="1"/>
          </p:cNvSpPr>
          <p:nvPr/>
        </p:nvSpPr>
        <p:spPr bwMode="auto">
          <a:xfrm>
            <a:off x="1726467" y="4383155"/>
            <a:ext cx="2340000" cy="288000"/>
          </a:xfrm>
          <a:prstGeom prst="roundRect">
            <a:avLst/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52400" contourW="19050">
            <a:bevelT w="101600" prst="convex"/>
            <a:bevelB w="0" h="38100"/>
            <a:contourClr>
              <a:srgbClr val="AFEAFF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45" name="直接连接符 44"/>
          <p:cNvCxnSpPr/>
          <p:nvPr/>
        </p:nvCxnSpPr>
        <p:spPr>
          <a:xfrm rot="5400000">
            <a:off x="4120314" y="3921580"/>
            <a:ext cx="3527425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矩形 45"/>
          <p:cNvSpPr/>
          <p:nvPr/>
        </p:nvSpPr>
        <p:spPr>
          <a:xfrm>
            <a:off x="6049504" y="1586942"/>
            <a:ext cx="2174644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spc="300" dirty="0">
                <a:ln w="1270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rgbClr val="00B0F0"/>
                    </a:gs>
                    <a:gs pos="75000">
                      <a:srgbClr val="002774"/>
                    </a:gs>
                  </a:gsLst>
                  <a:lin ang="5400000"/>
                </a:gradFill>
                <a:effectLst>
                  <a:glow rad="45500">
                    <a:srgbClr val="00B0F0">
                      <a:alpha val="35000"/>
                    </a:srgbClr>
                  </a:glow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47" name="AutoShape 3"/>
          <p:cNvSpPr>
            <a:spLocks noChangeArrowheads="1"/>
          </p:cNvSpPr>
          <p:nvPr/>
        </p:nvSpPr>
        <p:spPr bwMode="auto">
          <a:xfrm>
            <a:off x="1726467" y="4974330"/>
            <a:ext cx="828000" cy="288000"/>
          </a:xfrm>
          <a:prstGeom prst="round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52400" contourW="19050">
            <a:bevelT w="101600" prst="convex"/>
            <a:bevelB w="0" h="381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8" name="矩形 19"/>
          <p:cNvSpPr>
            <a:spLocks noChangeArrowheads="1"/>
          </p:cNvSpPr>
          <p:nvPr/>
        </p:nvSpPr>
        <p:spPr bwMode="auto">
          <a:xfrm>
            <a:off x="1051677" y="3180217"/>
            <a:ext cx="635000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zh-CN" altLang="en-US" sz="1400">
                <a:latin typeface="Calibri" pitchFamily="34" charset="0"/>
                <a:ea typeface="微软雅黑" pitchFamily="34" charset="-122"/>
              </a:rPr>
              <a:t>上海</a:t>
            </a:r>
          </a:p>
        </p:txBody>
      </p:sp>
      <p:sp>
        <p:nvSpPr>
          <p:cNvPr id="49" name="矩形 19"/>
          <p:cNvSpPr>
            <a:spLocks noChangeArrowheads="1"/>
          </p:cNvSpPr>
          <p:nvPr/>
        </p:nvSpPr>
        <p:spPr bwMode="auto">
          <a:xfrm>
            <a:off x="1051677" y="3769180"/>
            <a:ext cx="6350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zh-CN" altLang="en-US" sz="1400">
                <a:latin typeface="Calibri" pitchFamily="34" charset="0"/>
                <a:ea typeface="微软雅黑" pitchFamily="34" charset="-122"/>
              </a:rPr>
              <a:t>广州</a:t>
            </a:r>
          </a:p>
        </p:txBody>
      </p:sp>
      <p:sp>
        <p:nvSpPr>
          <p:cNvPr id="50" name="矩形 19"/>
          <p:cNvSpPr>
            <a:spLocks noChangeArrowheads="1"/>
          </p:cNvSpPr>
          <p:nvPr/>
        </p:nvSpPr>
        <p:spPr bwMode="auto">
          <a:xfrm>
            <a:off x="1051677" y="4358142"/>
            <a:ext cx="6350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zh-CN" altLang="en-US" sz="1400">
                <a:latin typeface="Calibri" pitchFamily="34" charset="0"/>
                <a:ea typeface="微软雅黑" pitchFamily="34" charset="-122"/>
              </a:rPr>
              <a:t>天津</a:t>
            </a:r>
          </a:p>
        </p:txBody>
      </p:sp>
      <p:sp>
        <p:nvSpPr>
          <p:cNvPr id="51" name="矩形 19"/>
          <p:cNvSpPr>
            <a:spLocks noChangeArrowheads="1"/>
          </p:cNvSpPr>
          <p:nvPr/>
        </p:nvSpPr>
        <p:spPr bwMode="auto">
          <a:xfrm>
            <a:off x="1051677" y="4947105"/>
            <a:ext cx="6350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zh-CN" altLang="en-US" sz="1400">
                <a:latin typeface="Calibri" pitchFamily="34" charset="0"/>
                <a:ea typeface="微软雅黑" pitchFamily="34" charset="-122"/>
              </a:rPr>
              <a:t>重庆</a:t>
            </a:r>
          </a:p>
        </p:txBody>
      </p:sp>
      <p:sp>
        <p:nvSpPr>
          <p:cNvPr id="52" name="矩形 19"/>
          <p:cNvSpPr>
            <a:spLocks noChangeArrowheads="1"/>
          </p:cNvSpPr>
          <p:nvPr/>
        </p:nvSpPr>
        <p:spPr bwMode="auto">
          <a:xfrm>
            <a:off x="6379327" y="2615067"/>
            <a:ext cx="15160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zh-CN" altLang="en-US" sz="1400" dirty="0">
              <a:latin typeface="+mn-lt"/>
              <a:ea typeface="微软雅黑" pitchFamily="34" charset="-122"/>
            </a:endParaRPr>
          </a:p>
        </p:txBody>
      </p:sp>
      <p:sp>
        <p:nvSpPr>
          <p:cNvPr id="53" name="矩形 19"/>
          <p:cNvSpPr>
            <a:spLocks noChangeArrowheads="1"/>
          </p:cNvSpPr>
          <p:nvPr/>
        </p:nvSpPr>
        <p:spPr bwMode="auto">
          <a:xfrm>
            <a:off x="6379327" y="3215142"/>
            <a:ext cx="15160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zh-CN" altLang="en-US" sz="1400" dirty="0">
              <a:latin typeface="+mn-lt"/>
              <a:ea typeface="微软雅黑" pitchFamily="34" charset="-122"/>
            </a:endParaRPr>
          </a:p>
        </p:txBody>
      </p:sp>
      <p:sp>
        <p:nvSpPr>
          <p:cNvPr id="54" name="矩形 19"/>
          <p:cNvSpPr>
            <a:spLocks noChangeArrowheads="1"/>
          </p:cNvSpPr>
          <p:nvPr/>
        </p:nvSpPr>
        <p:spPr bwMode="auto">
          <a:xfrm>
            <a:off x="6379327" y="3816805"/>
            <a:ext cx="15160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zh-CN" altLang="en-US" sz="1400" dirty="0">
              <a:latin typeface="+mn-lt"/>
              <a:ea typeface="微软雅黑" pitchFamily="34" charset="-122"/>
            </a:endParaRPr>
          </a:p>
        </p:txBody>
      </p:sp>
      <p:sp>
        <p:nvSpPr>
          <p:cNvPr id="55" name="矩形 19"/>
          <p:cNvSpPr>
            <a:spLocks noChangeArrowheads="1"/>
          </p:cNvSpPr>
          <p:nvPr/>
        </p:nvSpPr>
        <p:spPr bwMode="auto">
          <a:xfrm>
            <a:off x="6379327" y="4418467"/>
            <a:ext cx="1516063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zh-CN" altLang="en-US" sz="1400" dirty="0">
              <a:latin typeface="+mn-lt"/>
              <a:ea typeface="微软雅黑" pitchFamily="34" charset="-122"/>
            </a:endParaRPr>
          </a:p>
        </p:txBody>
      </p:sp>
      <p:sp>
        <p:nvSpPr>
          <p:cNvPr id="56" name="矩形 19"/>
          <p:cNvSpPr>
            <a:spLocks noChangeArrowheads="1"/>
          </p:cNvSpPr>
          <p:nvPr/>
        </p:nvSpPr>
        <p:spPr bwMode="auto">
          <a:xfrm>
            <a:off x="6379327" y="5018542"/>
            <a:ext cx="15160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zh-CN" altLang="en-US" sz="1400" dirty="0">
              <a:latin typeface="+mn-lt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900" decel="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000"/>
                            </p:stCondLst>
                            <p:childTnLst>
                              <p:par>
                                <p:cTn id="22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900" decel="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900" decel="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0"/>
                            </p:stCondLst>
                            <p:childTnLst>
                              <p:par>
                                <p:cTn id="36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900" decel="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6000"/>
                            </p:stCondLst>
                            <p:childTnLst>
                              <p:par>
                                <p:cTn id="4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900" decel="100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7000"/>
                            </p:stCondLst>
                            <p:childTnLst>
                              <p:par>
                                <p:cTn id="50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52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8000"/>
                            </p:stCondLst>
                            <p:childTnLst>
                              <p:par>
                                <p:cTn id="54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56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9000"/>
                            </p:stCondLst>
                            <p:childTnLst>
                              <p:par>
                                <p:cTn id="58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60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10000"/>
                            </p:stCondLst>
                            <p:childTnLst>
                              <p:par>
                                <p:cTn id="62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64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11000"/>
                            </p:stCondLst>
                            <p:childTnLst>
                              <p:par>
                                <p:cTn id="66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68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2000"/>
                            </p:stCondLst>
                            <p:childTnLst>
                              <p:par>
                                <p:cTn id="7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12500"/>
                            </p:stCondLst>
                            <p:childTnLst>
                              <p:par>
                                <p:cTn id="7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6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13000"/>
                            </p:stCondLst>
                            <p:childTnLst>
                              <p:par>
                                <p:cTn id="7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8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3500"/>
                            </p:stCondLst>
                            <p:childTnLst>
                              <p:par>
                                <p:cTn id="8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84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14000"/>
                            </p:stCondLst>
                            <p:childTnLst>
                              <p:par>
                                <p:cTn id="8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8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14500"/>
                            </p:stCondLst>
                            <p:childTnLst>
                              <p:par>
                                <p:cTn id="9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15000"/>
                            </p:stCondLst>
                            <p:childTnLst>
                              <p:par>
                                <p:cTn id="9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9" grpId="0"/>
      <p:bldP spid="40" grpId="0" animBg="1"/>
      <p:bldP spid="41" grpId="0"/>
      <p:bldP spid="42" grpId="0" animBg="1"/>
      <p:bldP spid="43" grpId="0" animBg="1"/>
      <p:bldP spid="44" grpId="0" animBg="1"/>
      <p:bldP spid="46" grpId="0"/>
      <p:bldP spid="47" grpId="0" animBg="1"/>
      <p:bldP spid="48" grpId="0"/>
      <p:bldP spid="49" grpId="0"/>
      <p:bldP spid="50" grpId="0"/>
      <p:bldP spid="51" grpId="0"/>
      <p:bldP spid="52" grpId="0"/>
      <p:bldP spid="53" grpId="0"/>
      <p:bldP spid="54" grpId="0"/>
      <p:bldP spid="55" grpId="0"/>
      <p:bldP spid="56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组合 46"/>
          <p:cNvGrpSpPr/>
          <p:nvPr/>
        </p:nvGrpSpPr>
        <p:grpSpPr>
          <a:xfrm>
            <a:off x="3046413" y="2351087"/>
            <a:ext cx="2968625" cy="2968625"/>
            <a:chOff x="3046413" y="2351087"/>
            <a:chExt cx="2968625" cy="2968625"/>
          </a:xfrm>
        </p:grpSpPr>
        <p:sp>
          <p:nvSpPr>
            <p:cNvPr id="35842" name="Oval 11"/>
            <p:cNvSpPr>
              <a:spLocks noChangeArrowheads="1"/>
            </p:cNvSpPr>
            <p:nvPr/>
          </p:nvSpPr>
          <p:spPr bwMode="auto">
            <a:xfrm>
              <a:off x="3046413" y="2351087"/>
              <a:ext cx="2968625" cy="2968625"/>
            </a:xfrm>
            <a:prstGeom prst="ellipse">
              <a:avLst/>
            </a:prstGeom>
            <a:gradFill rotWithShape="1">
              <a:gsLst>
                <a:gs pos="0">
                  <a:srgbClr val="FFEA96">
                    <a:alpha val="59999"/>
                  </a:srgbClr>
                </a:gs>
                <a:gs pos="100000">
                  <a:schemeClr val="accent1">
                    <a:alpha val="59999"/>
                  </a:schemeClr>
                </a:gs>
              </a:gsLst>
              <a:path path="shape">
                <a:fillToRect l="50000" t="50000" r="50000" b="50000"/>
              </a:path>
            </a:gradFill>
            <a:ln w="57150" cap="flat" cmpd="sng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35843" name="AutoShape 16"/>
            <p:cNvSpPr>
              <a:spLocks noChangeArrowheads="1"/>
            </p:cNvSpPr>
            <p:nvPr/>
          </p:nvSpPr>
          <p:spPr bwMode="auto">
            <a:xfrm>
              <a:off x="3074988" y="2379662"/>
              <a:ext cx="2911475" cy="2911475"/>
            </a:xfrm>
            <a:custGeom>
              <a:avLst/>
              <a:gdLst>
                <a:gd name="T0" fmla="*/ 2147483647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2147483647 w 21600"/>
                <a:gd name="T7" fmla="*/ 2147483647 h 21600"/>
                <a:gd name="T8" fmla="*/ 2147483647 w 21600"/>
                <a:gd name="T9" fmla="*/ 2147483647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2147483647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63 w 21600"/>
                <a:gd name="T25" fmla="*/ 3163 h 21600"/>
                <a:gd name="T26" fmla="*/ 18437 w 21600"/>
                <a:gd name="T27" fmla="*/ 18437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663" y="10800"/>
                  </a:moveTo>
                  <a:cubicBezTo>
                    <a:pt x="663" y="16399"/>
                    <a:pt x="5201" y="20937"/>
                    <a:pt x="10800" y="20937"/>
                  </a:cubicBezTo>
                  <a:cubicBezTo>
                    <a:pt x="16399" y="20937"/>
                    <a:pt x="20937" y="16399"/>
                    <a:pt x="20937" y="10800"/>
                  </a:cubicBezTo>
                  <a:cubicBezTo>
                    <a:pt x="20937" y="5201"/>
                    <a:pt x="16399" y="663"/>
                    <a:pt x="10800" y="663"/>
                  </a:cubicBezTo>
                  <a:cubicBezTo>
                    <a:pt x="5201" y="663"/>
                    <a:pt x="663" y="5201"/>
                    <a:pt x="663" y="10800"/>
                  </a:cubicBezTo>
                  <a:close/>
                </a:path>
              </a:pathLst>
            </a:custGeom>
            <a:solidFill>
              <a:srgbClr val="663300">
                <a:alpha val="5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</p:grpSp>
      <p:grpSp>
        <p:nvGrpSpPr>
          <p:cNvPr id="53" name="组合 52"/>
          <p:cNvGrpSpPr/>
          <p:nvPr/>
        </p:nvGrpSpPr>
        <p:grpSpPr>
          <a:xfrm>
            <a:off x="3367088" y="2746375"/>
            <a:ext cx="2308225" cy="2074862"/>
            <a:chOff x="3367088" y="2746375"/>
            <a:chExt cx="2308225" cy="2074862"/>
          </a:xfrm>
        </p:grpSpPr>
        <p:sp>
          <p:nvSpPr>
            <p:cNvPr id="35844" name="Line 17"/>
            <p:cNvSpPr>
              <a:spLocks noChangeShapeType="1"/>
            </p:cNvSpPr>
            <p:nvPr/>
          </p:nvSpPr>
          <p:spPr bwMode="auto">
            <a:xfrm>
              <a:off x="4527550" y="2746375"/>
              <a:ext cx="0" cy="1109662"/>
            </a:xfrm>
            <a:prstGeom prst="line">
              <a:avLst/>
            </a:prstGeom>
            <a:noFill/>
            <a:ln w="38100" cap="flat" cmpd="sng">
              <a:solidFill>
                <a:schemeClr val="bg1"/>
              </a:solidFill>
              <a:round/>
              <a:headEnd type="triangle" w="med" len="med"/>
              <a:tailEnd/>
            </a:ln>
            <a:effectLst>
              <a:outerShdw dist="28398" dir="3806097" algn="ctr" rotWithShape="0">
                <a:srgbClr val="663300"/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5845" name="Line 22"/>
            <p:cNvSpPr>
              <a:spLocks noChangeShapeType="1"/>
            </p:cNvSpPr>
            <p:nvPr/>
          </p:nvSpPr>
          <p:spPr bwMode="auto">
            <a:xfrm flipV="1">
              <a:off x="3767138" y="3856037"/>
              <a:ext cx="760412" cy="941388"/>
            </a:xfrm>
            <a:prstGeom prst="line">
              <a:avLst/>
            </a:prstGeom>
            <a:noFill/>
            <a:ln w="38100" cap="flat" cmpd="sng">
              <a:solidFill>
                <a:schemeClr val="bg1"/>
              </a:solidFill>
              <a:round/>
              <a:headEnd type="triangle" w="med" len="med"/>
              <a:tailEnd/>
            </a:ln>
            <a:effectLst>
              <a:outerShdw dist="28398" dir="3806097" algn="ctr" rotWithShape="0">
                <a:srgbClr val="663300"/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5846" name="Line 23"/>
            <p:cNvSpPr>
              <a:spLocks noChangeShapeType="1"/>
            </p:cNvSpPr>
            <p:nvPr/>
          </p:nvSpPr>
          <p:spPr bwMode="auto">
            <a:xfrm>
              <a:off x="3367088" y="3581400"/>
              <a:ext cx="1160462" cy="274637"/>
            </a:xfrm>
            <a:prstGeom prst="line">
              <a:avLst/>
            </a:prstGeom>
            <a:noFill/>
            <a:ln w="38100" cap="flat" cmpd="sng">
              <a:solidFill>
                <a:schemeClr val="bg1"/>
              </a:solidFill>
              <a:round/>
              <a:headEnd type="triangle" w="med" len="med"/>
              <a:tailEnd/>
            </a:ln>
            <a:effectLst>
              <a:outerShdw dist="28398" dir="3806097" algn="ctr" rotWithShape="0">
                <a:srgbClr val="663300"/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5847" name="Line 24"/>
            <p:cNvSpPr>
              <a:spLocks noChangeShapeType="1"/>
            </p:cNvSpPr>
            <p:nvPr/>
          </p:nvSpPr>
          <p:spPr bwMode="auto">
            <a:xfrm flipH="1">
              <a:off x="4527550" y="3581400"/>
              <a:ext cx="1147763" cy="274637"/>
            </a:xfrm>
            <a:prstGeom prst="line">
              <a:avLst/>
            </a:prstGeom>
            <a:noFill/>
            <a:ln w="38100" cap="flat" cmpd="sng">
              <a:solidFill>
                <a:schemeClr val="bg1"/>
              </a:solidFill>
              <a:round/>
              <a:headEnd type="triangle" w="med" len="med"/>
              <a:tailEnd/>
            </a:ln>
            <a:effectLst>
              <a:outerShdw dist="28398" dir="3806097" algn="ctr" rotWithShape="0">
                <a:srgbClr val="663300"/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5848" name="Line 25"/>
            <p:cNvSpPr>
              <a:spLocks noChangeShapeType="1"/>
            </p:cNvSpPr>
            <p:nvPr/>
          </p:nvSpPr>
          <p:spPr bwMode="auto">
            <a:xfrm flipH="1" flipV="1">
              <a:off x="4527550" y="3856037"/>
              <a:ext cx="739775" cy="965200"/>
            </a:xfrm>
            <a:prstGeom prst="line">
              <a:avLst/>
            </a:prstGeom>
            <a:noFill/>
            <a:ln w="38100" cap="flat" cmpd="sng">
              <a:solidFill>
                <a:schemeClr val="bg1"/>
              </a:solidFill>
              <a:round/>
              <a:headEnd type="triangle" w="med" len="med"/>
              <a:tailEnd/>
            </a:ln>
            <a:effectLst>
              <a:outerShdw dist="28398" dir="3806097" algn="ctr" rotWithShape="0">
                <a:srgbClr val="663300"/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</p:grpSp>
      <p:pic>
        <p:nvPicPr>
          <p:cNvPr id="35849" name="Picture 29" descr="3원_3"/>
          <p:cNvPicPr>
            <a:picLocks noChangeAspect="1" noChangeArrowheads="1"/>
          </p:cNvPicPr>
          <p:nvPr/>
        </p:nvPicPr>
        <p:blipFill>
          <a:blip r:embed="rId2" cstate="print">
            <a:lum bright="-12000" contrast="18000"/>
          </a:blip>
          <a:srcRect/>
          <a:stretch>
            <a:fillRect/>
          </a:stretch>
        </p:blipFill>
        <p:spPr bwMode="auto">
          <a:xfrm>
            <a:off x="3889375" y="3179762"/>
            <a:ext cx="1298575" cy="130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50" name="组合 49"/>
          <p:cNvGrpSpPr/>
          <p:nvPr/>
        </p:nvGrpSpPr>
        <p:grpSpPr>
          <a:xfrm>
            <a:off x="3992563" y="1560512"/>
            <a:ext cx="1082675" cy="1082675"/>
            <a:chOff x="3992563" y="1560512"/>
            <a:chExt cx="1082675" cy="1082675"/>
          </a:xfrm>
        </p:grpSpPr>
        <p:sp>
          <p:nvSpPr>
            <p:cNvPr id="35850" name="AutoShape 36"/>
            <p:cNvSpPr>
              <a:spLocks noChangeArrowheads="1"/>
            </p:cNvSpPr>
            <p:nvPr/>
          </p:nvSpPr>
          <p:spPr bwMode="auto">
            <a:xfrm>
              <a:off x="3992563" y="1562100"/>
              <a:ext cx="1082675" cy="1081087"/>
            </a:xfrm>
            <a:custGeom>
              <a:avLst/>
              <a:gdLst>
                <a:gd name="T0" fmla="*/ 541338 w 21600"/>
                <a:gd name="T1" fmla="*/ 0 h 21600"/>
                <a:gd name="T2" fmla="*/ 158542 w 21600"/>
                <a:gd name="T3" fmla="*/ 158309 h 21600"/>
                <a:gd name="T4" fmla="*/ 0 w 21600"/>
                <a:gd name="T5" fmla="*/ 540544 h 21600"/>
                <a:gd name="T6" fmla="*/ 158542 w 21600"/>
                <a:gd name="T7" fmla="*/ 922778 h 21600"/>
                <a:gd name="T8" fmla="*/ 541338 w 21600"/>
                <a:gd name="T9" fmla="*/ 1081087 h 21600"/>
                <a:gd name="T10" fmla="*/ 924133 w 21600"/>
                <a:gd name="T11" fmla="*/ 922778 h 21600"/>
                <a:gd name="T12" fmla="*/ 1082675 w 21600"/>
                <a:gd name="T13" fmla="*/ 540544 h 21600"/>
                <a:gd name="T14" fmla="*/ 924133 w 21600"/>
                <a:gd name="T15" fmla="*/ 158309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63 w 21600"/>
                <a:gd name="T25" fmla="*/ 3163 h 21600"/>
                <a:gd name="T26" fmla="*/ 18437 w 21600"/>
                <a:gd name="T27" fmla="*/ 18437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2160" y="10800"/>
                  </a:moveTo>
                  <a:cubicBezTo>
                    <a:pt x="2160" y="15572"/>
                    <a:pt x="6028" y="19440"/>
                    <a:pt x="10800" y="19440"/>
                  </a:cubicBezTo>
                  <a:cubicBezTo>
                    <a:pt x="15572" y="19440"/>
                    <a:pt x="19440" y="15572"/>
                    <a:pt x="19440" y="10800"/>
                  </a:cubicBezTo>
                  <a:cubicBezTo>
                    <a:pt x="19440" y="6028"/>
                    <a:pt x="15572" y="2160"/>
                    <a:pt x="10800" y="2160"/>
                  </a:cubicBezTo>
                  <a:cubicBezTo>
                    <a:pt x="6028" y="2160"/>
                    <a:pt x="2160" y="6028"/>
                    <a:pt x="2160" y="10800"/>
                  </a:cubicBezTo>
                  <a:close/>
                </a:path>
              </a:pathLst>
            </a:custGeom>
            <a:gradFill rotWithShape="1">
              <a:gsLst>
                <a:gs pos="0">
                  <a:srgbClr val="F18A46"/>
                </a:gs>
                <a:gs pos="100000">
                  <a:srgbClr val="EB5F01"/>
                </a:gs>
              </a:gsLst>
              <a:lin ang="5400000" scaled="1"/>
            </a:gradFill>
            <a:ln w="9525" cap="flat" cmpd="sng">
              <a:solidFill>
                <a:schemeClr val="bg1"/>
              </a:solidFill>
              <a:miter lim="800000"/>
              <a:headEnd/>
              <a:tailEnd/>
            </a:ln>
            <a:effectLst>
              <a:outerShdw dist="38100" dir="5400000" algn="ctr" rotWithShape="0">
                <a:srgbClr val="482400">
                  <a:alpha val="56000"/>
                </a:srgbClr>
              </a:outerShdw>
            </a:effectLst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35851" name="Oval 46"/>
            <p:cNvSpPr>
              <a:spLocks noChangeArrowheads="1"/>
            </p:cNvSpPr>
            <p:nvPr/>
          </p:nvSpPr>
          <p:spPr bwMode="auto">
            <a:xfrm>
              <a:off x="4030663" y="1560512"/>
              <a:ext cx="993775" cy="992188"/>
            </a:xfrm>
            <a:prstGeom prst="ellipse">
              <a:avLst/>
            </a:prstGeom>
            <a:gradFill rotWithShape="1">
              <a:gsLst>
                <a:gs pos="0">
                  <a:srgbClr val="FED0A2"/>
                </a:gs>
                <a:gs pos="100000">
                  <a:srgbClr val="FFEFDF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35852" name="AutoShape 47"/>
            <p:cNvSpPr>
              <a:spLocks noChangeArrowheads="1"/>
            </p:cNvSpPr>
            <p:nvPr/>
          </p:nvSpPr>
          <p:spPr bwMode="auto">
            <a:xfrm>
              <a:off x="4038600" y="1570037"/>
              <a:ext cx="985838" cy="982663"/>
            </a:xfrm>
            <a:custGeom>
              <a:avLst/>
              <a:gdLst>
                <a:gd name="T0" fmla="*/ 1026783862 w 21600"/>
                <a:gd name="T1" fmla="*/ 0 h 21600"/>
                <a:gd name="T2" fmla="*/ 300713799 w 21600"/>
                <a:gd name="T3" fmla="*/ 297817660 h 21600"/>
                <a:gd name="T4" fmla="*/ 0 w 21600"/>
                <a:gd name="T5" fmla="*/ 1016893880 h 21600"/>
                <a:gd name="T6" fmla="*/ 300713799 w 21600"/>
                <a:gd name="T7" fmla="*/ 1735972556 h 21600"/>
                <a:gd name="T8" fmla="*/ 1026783862 w 21600"/>
                <a:gd name="T9" fmla="*/ 2033790671 h 21600"/>
                <a:gd name="T10" fmla="*/ 1752853652 w 21600"/>
                <a:gd name="T11" fmla="*/ 1735972556 h 21600"/>
                <a:gd name="T12" fmla="*/ 2053567725 w 21600"/>
                <a:gd name="T13" fmla="*/ 1016893880 h 21600"/>
                <a:gd name="T14" fmla="*/ 1752853652 w 21600"/>
                <a:gd name="T15" fmla="*/ 29781766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63 w 21600"/>
                <a:gd name="T25" fmla="*/ 3163 h 21600"/>
                <a:gd name="T26" fmla="*/ 18437 w 21600"/>
                <a:gd name="T27" fmla="*/ 18437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1367" y="10800"/>
                  </a:moveTo>
                  <a:cubicBezTo>
                    <a:pt x="1367" y="16010"/>
                    <a:pt x="5590" y="20233"/>
                    <a:pt x="10800" y="20233"/>
                  </a:cubicBezTo>
                  <a:cubicBezTo>
                    <a:pt x="16010" y="20233"/>
                    <a:pt x="20233" y="16010"/>
                    <a:pt x="20233" y="10800"/>
                  </a:cubicBezTo>
                  <a:cubicBezTo>
                    <a:pt x="20233" y="5590"/>
                    <a:pt x="16010" y="1367"/>
                    <a:pt x="10800" y="1367"/>
                  </a:cubicBezTo>
                  <a:cubicBezTo>
                    <a:pt x="5590" y="1367"/>
                    <a:pt x="1367" y="5590"/>
                    <a:pt x="1367" y="10800"/>
                  </a:cubicBezTo>
                  <a:close/>
                </a:path>
              </a:pathLst>
            </a:custGeom>
            <a:gradFill rotWithShape="1">
              <a:gsLst>
                <a:gs pos="0">
                  <a:srgbClr val="FEBD7C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</p:grpSp>
      <p:grpSp>
        <p:nvGrpSpPr>
          <p:cNvPr id="49" name="组合 48"/>
          <p:cNvGrpSpPr/>
          <p:nvPr/>
        </p:nvGrpSpPr>
        <p:grpSpPr>
          <a:xfrm>
            <a:off x="5772150" y="2963862"/>
            <a:ext cx="1082675" cy="1082675"/>
            <a:chOff x="5772150" y="2963862"/>
            <a:chExt cx="1082675" cy="1082675"/>
          </a:xfrm>
        </p:grpSpPr>
        <p:sp>
          <p:nvSpPr>
            <p:cNvPr id="35853" name="AutoShape 48"/>
            <p:cNvSpPr>
              <a:spLocks noChangeArrowheads="1"/>
            </p:cNvSpPr>
            <p:nvPr/>
          </p:nvSpPr>
          <p:spPr bwMode="auto">
            <a:xfrm>
              <a:off x="5772150" y="2965450"/>
              <a:ext cx="1082675" cy="1081087"/>
            </a:xfrm>
            <a:custGeom>
              <a:avLst/>
              <a:gdLst>
                <a:gd name="T0" fmla="*/ 541338 w 21600"/>
                <a:gd name="T1" fmla="*/ 0 h 21600"/>
                <a:gd name="T2" fmla="*/ 158542 w 21600"/>
                <a:gd name="T3" fmla="*/ 158309 h 21600"/>
                <a:gd name="T4" fmla="*/ 0 w 21600"/>
                <a:gd name="T5" fmla="*/ 540544 h 21600"/>
                <a:gd name="T6" fmla="*/ 158542 w 21600"/>
                <a:gd name="T7" fmla="*/ 922778 h 21600"/>
                <a:gd name="T8" fmla="*/ 541338 w 21600"/>
                <a:gd name="T9" fmla="*/ 1081087 h 21600"/>
                <a:gd name="T10" fmla="*/ 924133 w 21600"/>
                <a:gd name="T11" fmla="*/ 922778 h 21600"/>
                <a:gd name="T12" fmla="*/ 1082675 w 21600"/>
                <a:gd name="T13" fmla="*/ 540544 h 21600"/>
                <a:gd name="T14" fmla="*/ 924133 w 21600"/>
                <a:gd name="T15" fmla="*/ 158309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63 w 21600"/>
                <a:gd name="T25" fmla="*/ 3163 h 21600"/>
                <a:gd name="T26" fmla="*/ 18437 w 21600"/>
                <a:gd name="T27" fmla="*/ 18437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2160" y="10800"/>
                  </a:moveTo>
                  <a:cubicBezTo>
                    <a:pt x="2160" y="15572"/>
                    <a:pt x="6028" y="19440"/>
                    <a:pt x="10800" y="19440"/>
                  </a:cubicBezTo>
                  <a:cubicBezTo>
                    <a:pt x="15572" y="19440"/>
                    <a:pt x="19440" y="15572"/>
                    <a:pt x="19440" y="10800"/>
                  </a:cubicBezTo>
                  <a:cubicBezTo>
                    <a:pt x="19440" y="6028"/>
                    <a:pt x="15572" y="2160"/>
                    <a:pt x="10800" y="2160"/>
                  </a:cubicBezTo>
                  <a:cubicBezTo>
                    <a:pt x="6028" y="2160"/>
                    <a:pt x="2160" y="6028"/>
                    <a:pt x="2160" y="10800"/>
                  </a:cubicBezTo>
                  <a:close/>
                </a:path>
              </a:pathLst>
            </a:custGeom>
            <a:gradFill rotWithShape="1">
              <a:gsLst>
                <a:gs pos="0">
                  <a:srgbClr val="F08A46"/>
                </a:gs>
                <a:gs pos="100000">
                  <a:srgbClr val="EB5F01"/>
                </a:gs>
              </a:gsLst>
              <a:lin ang="5400000" scaled="1"/>
            </a:gradFill>
            <a:ln w="9525" cap="flat" cmpd="sng">
              <a:solidFill>
                <a:schemeClr val="bg1"/>
              </a:solidFill>
              <a:miter lim="800000"/>
              <a:headEnd/>
              <a:tailEnd/>
            </a:ln>
            <a:effectLst>
              <a:outerShdw dist="38100" dir="5400000" algn="ctr" rotWithShape="0">
                <a:srgbClr val="482400">
                  <a:alpha val="56000"/>
                </a:srgbClr>
              </a:outerShdw>
            </a:effectLst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35854" name="Oval 49"/>
            <p:cNvSpPr>
              <a:spLocks noChangeArrowheads="1"/>
            </p:cNvSpPr>
            <p:nvPr/>
          </p:nvSpPr>
          <p:spPr bwMode="auto">
            <a:xfrm>
              <a:off x="5816600" y="2963862"/>
              <a:ext cx="993775" cy="992188"/>
            </a:xfrm>
            <a:prstGeom prst="ellipse">
              <a:avLst/>
            </a:prstGeom>
            <a:gradFill rotWithShape="1">
              <a:gsLst>
                <a:gs pos="0">
                  <a:srgbClr val="FED0A2"/>
                </a:gs>
                <a:gs pos="100000">
                  <a:srgbClr val="FFEFDF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35855" name="AutoShape 50"/>
            <p:cNvSpPr>
              <a:spLocks noChangeArrowheads="1"/>
            </p:cNvSpPr>
            <p:nvPr/>
          </p:nvSpPr>
          <p:spPr bwMode="auto">
            <a:xfrm>
              <a:off x="5819775" y="2970212"/>
              <a:ext cx="985838" cy="982663"/>
            </a:xfrm>
            <a:custGeom>
              <a:avLst/>
              <a:gdLst>
                <a:gd name="T0" fmla="*/ 1026783862 w 21600"/>
                <a:gd name="T1" fmla="*/ 0 h 21600"/>
                <a:gd name="T2" fmla="*/ 300713799 w 21600"/>
                <a:gd name="T3" fmla="*/ 297817660 h 21600"/>
                <a:gd name="T4" fmla="*/ 0 w 21600"/>
                <a:gd name="T5" fmla="*/ 1016893880 h 21600"/>
                <a:gd name="T6" fmla="*/ 300713799 w 21600"/>
                <a:gd name="T7" fmla="*/ 1735972556 h 21600"/>
                <a:gd name="T8" fmla="*/ 1026783862 w 21600"/>
                <a:gd name="T9" fmla="*/ 2033790671 h 21600"/>
                <a:gd name="T10" fmla="*/ 1752853652 w 21600"/>
                <a:gd name="T11" fmla="*/ 1735972556 h 21600"/>
                <a:gd name="T12" fmla="*/ 2053567725 w 21600"/>
                <a:gd name="T13" fmla="*/ 1016893880 h 21600"/>
                <a:gd name="T14" fmla="*/ 1752853652 w 21600"/>
                <a:gd name="T15" fmla="*/ 29781766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63 w 21600"/>
                <a:gd name="T25" fmla="*/ 3163 h 21600"/>
                <a:gd name="T26" fmla="*/ 18437 w 21600"/>
                <a:gd name="T27" fmla="*/ 18437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1367" y="10800"/>
                  </a:moveTo>
                  <a:cubicBezTo>
                    <a:pt x="1367" y="16010"/>
                    <a:pt x="5590" y="20233"/>
                    <a:pt x="10800" y="20233"/>
                  </a:cubicBezTo>
                  <a:cubicBezTo>
                    <a:pt x="16010" y="20233"/>
                    <a:pt x="20233" y="16010"/>
                    <a:pt x="20233" y="10800"/>
                  </a:cubicBezTo>
                  <a:cubicBezTo>
                    <a:pt x="20233" y="5590"/>
                    <a:pt x="16010" y="1367"/>
                    <a:pt x="10800" y="1367"/>
                  </a:cubicBezTo>
                  <a:cubicBezTo>
                    <a:pt x="5590" y="1367"/>
                    <a:pt x="1367" y="5590"/>
                    <a:pt x="1367" y="10800"/>
                  </a:cubicBezTo>
                  <a:close/>
                </a:path>
              </a:pathLst>
            </a:custGeom>
            <a:gradFill rotWithShape="1">
              <a:gsLst>
                <a:gs pos="0">
                  <a:srgbClr val="FEBD7C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5151438" y="4708525"/>
            <a:ext cx="1082675" cy="1082675"/>
            <a:chOff x="5151438" y="4708525"/>
            <a:chExt cx="1082675" cy="1082675"/>
          </a:xfrm>
        </p:grpSpPr>
        <p:sp>
          <p:nvSpPr>
            <p:cNvPr id="35856" name="AutoShape 51"/>
            <p:cNvSpPr>
              <a:spLocks noChangeArrowheads="1"/>
            </p:cNvSpPr>
            <p:nvPr/>
          </p:nvSpPr>
          <p:spPr bwMode="auto">
            <a:xfrm>
              <a:off x="5151438" y="4710112"/>
              <a:ext cx="1082675" cy="1081088"/>
            </a:xfrm>
            <a:custGeom>
              <a:avLst/>
              <a:gdLst>
                <a:gd name="T0" fmla="*/ 541338 w 21600"/>
                <a:gd name="T1" fmla="*/ 0 h 21600"/>
                <a:gd name="T2" fmla="*/ 158542 w 21600"/>
                <a:gd name="T3" fmla="*/ 158309 h 21600"/>
                <a:gd name="T4" fmla="*/ 0 w 21600"/>
                <a:gd name="T5" fmla="*/ 540544 h 21600"/>
                <a:gd name="T6" fmla="*/ 158542 w 21600"/>
                <a:gd name="T7" fmla="*/ 922779 h 21600"/>
                <a:gd name="T8" fmla="*/ 541338 w 21600"/>
                <a:gd name="T9" fmla="*/ 1081088 h 21600"/>
                <a:gd name="T10" fmla="*/ 924133 w 21600"/>
                <a:gd name="T11" fmla="*/ 922779 h 21600"/>
                <a:gd name="T12" fmla="*/ 1082675 w 21600"/>
                <a:gd name="T13" fmla="*/ 540544 h 21600"/>
                <a:gd name="T14" fmla="*/ 924133 w 21600"/>
                <a:gd name="T15" fmla="*/ 158309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63 w 21600"/>
                <a:gd name="T25" fmla="*/ 3163 h 21600"/>
                <a:gd name="T26" fmla="*/ 18437 w 21600"/>
                <a:gd name="T27" fmla="*/ 18437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2160" y="10800"/>
                  </a:moveTo>
                  <a:cubicBezTo>
                    <a:pt x="2160" y="15572"/>
                    <a:pt x="6028" y="19440"/>
                    <a:pt x="10800" y="19440"/>
                  </a:cubicBezTo>
                  <a:cubicBezTo>
                    <a:pt x="15572" y="19440"/>
                    <a:pt x="19440" y="15572"/>
                    <a:pt x="19440" y="10800"/>
                  </a:cubicBezTo>
                  <a:cubicBezTo>
                    <a:pt x="19440" y="6028"/>
                    <a:pt x="15572" y="2160"/>
                    <a:pt x="10800" y="2160"/>
                  </a:cubicBezTo>
                  <a:cubicBezTo>
                    <a:pt x="6028" y="2160"/>
                    <a:pt x="2160" y="6028"/>
                    <a:pt x="2160" y="10800"/>
                  </a:cubicBezTo>
                  <a:close/>
                </a:path>
              </a:pathLst>
            </a:custGeom>
            <a:gradFill rotWithShape="1">
              <a:gsLst>
                <a:gs pos="0">
                  <a:srgbClr val="F08A46"/>
                </a:gs>
                <a:gs pos="100000">
                  <a:srgbClr val="EB5F01"/>
                </a:gs>
              </a:gsLst>
              <a:lin ang="5400000" scaled="1"/>
            </a:gradFill>
            <a:ln w="9525" cap="flat" cmpd="sng">
              <a:solidFill>
                <a:schemeClr val="bg1"/>
              </a:solidFill>
              <a:miter lim="800000"/>
              <a:headEnd/>
              <a:tailEnd/>
            </a:ln>
            <a:effectLst>
              <a:outerShdw dist="38100" dir="5400000" algn="ctr" rotWithShape="0">
                <a:srgbClr val="482400">
                  <a:alpha val="56000"/>
                </a:srgbClr>
              </a:outerShdw>
            </a:effectLst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35857" name="Oval 52"/>
            <p:cNvSpPr>
              <a:spLocks noChangeArrowheads="1"/>
            </p:cNvSpPr>
            <p:nvPr/>
          </p:nvSpPr>
          <p:spPr bwMode="auto">
            <a:xfrm>
              <a:off x="5195888" y="4708525"/>
              <a:ext cx="993775" cy="992187"/>
            </a:xfrm>
            <a:prstGeom prst="ellipse">
              <a:avLst/>
            </a:prstGeom>
            <a:gradFill rotWithShape="1">
              <a:gsLst>
                <a:gs pos="0">
                  <a:srgbClr val="FED0A2"/>
                </a:gs>
                <a:gs pos="100000">
                  <a:srgbClr val="FFEFDF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35858" name="AutoShape 53"/>
            <p:cNvSpPr>
              <a:spLocks noChangeArrowheads="1"/>
            </p:cNvSpPr>
            <p:nvPr/>
          </p:nvSpPr>
          <p:spPr bwMode="auto">
            <a:xfrm>
              <a:off x="5199063" y="4714875"/>
              <a:ext cx="985837" cy="982662"/>
            </a:xfrm>
            <a:custGeom>
              <a:avLst/>
              <a:gdLst>
                <a:gd name="T0" fmla="*/ 1026781360 w 21600"/>
                <a:gd name="T1" fmla="*/ 0 h 21600"/>
                <a:gd name="T2" fmla="*/ 300713129 w 21600"/>
                <a:gd name="T3" fmla="*/ 297816993 h 21600"/>
                <a:gd name="T4" fmla="*/ 0 w 21600"/>
                <a:gd name="T5" fmla="*/ 1016892117 h 21600"/>
                <a:gd name="T6" fmla="*/ 300713129 w 21600"/>
                <a:gd name="T7" fmla="*/ 1735966422 h 21600"/>
                <a:gd name="T8" fmla="*/ 1026781360 w 21600"/>
                <a:gd name="T9" fmla="*/ 2033784234 h 21600"/>
                <a:gd name="T10" fmla="*/ 1752847492 w 21600"/>
                <a:gd name="T11" fmla="*/ 1735966422 h 21600"/>
                <a:gd name="T12" fmla="*/ 2053561260 w 21600"/>
                <a:gd name="T13" fmla="*/ 1016892117 h 21600"/>
                <a:gd name="T14" fmla="*/ 1752847492 w 21600"/>
                <a:gd name="T15" fmla="*/ 297816993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63 w 21600"/>
                <a:gd name="T25" fmla="*/ 3163 h 21600"/>
                <a:gd name="T26" fmla="*/ 18437 w 21600"/>
                <a:gd name="T27" fmla="*/ 18437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1367" y="10800"/>
                  </a:moveTo>
                  <a:cubicBezTo>
                    <a:pt x="1367" y="16010"/>
                    <a:pt x="5590" y="20233"/>
                    <a:pt x="10800" y="20233"/>
                  </a:cubicBezTo>
                  <a:cubicBezTo>
                    <a:pt x="16010" y="20233"/>
                    <a:pt x="20233" y="16010"/>
                    <a:pt x="20233" y="10800"/>
                  </a:cubicBezTo>
                  <a:cubicBezTo>
                    <a:pt x="20233" y="5590"/>
                    <a:pt x="16010" y="1367"/>
                    <a:pt x="10800" y="1367"/>
                  </a:cubicBezTo>
                  <a:cubicBezTo>
                    <a:pt x="5590" y="1367"/>
                    <a:pt x="1367" y="5590"/>
                    <a:pt x="1367" y="10800"/>
                  </a:cubicBezTo>
                  <a:close/>
                </a:path>
              </a:pathLst>
            </a:custGeom>
            <a:gradFill rotWithShape="1">
              <a:gsLst>
                <a:gs pos="0">
                  <a:srgbClr val="FEBD7C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</p:grpSp>
      <p:grpSp>
        <p:nvGrpSpPr>
          <p:cNvPr id="52" name="组合 51"/>
          <p:cNvGrpSpPr/>
          <p:nvPr/>
        </p:nvGrpSpPr>
        <p:grpSpPr>
          <a:xfrm>
            <a:off x="2800350" y="4708525"/>
            <a:ext cx="1082675" cy="1082675"/>
            <a:chOff x="2800350" y="4708525"/>
            <a:chExt cx="1082675" cy="1082675"/>
          </a:xfrm>
        </p:grpSpPr>
        <p:sp>
          <p:nvSpPr>
            <p:cNvPr id="35859" name="AutoShape 54"/>
            <p:cNvSpPr>
              <a:spLocks noChangeArrowheads="1"/>
            </p:cNvSpPr>
            <p:nvPr/>
          </p:nvSpPr>
          <p:spPr bwMode="auto">
            <a:xfrm>
              <a:off x="2800350" y="4710112"/>
              <a:ext cx="1082675" cy="1081088"/>
            </a:xfrm>
            <a:custGeom>
              <a:avLst/>
              <a:gdLst>
                <a:gd name="T0" fmla="*/ 541338 w 21600"/>
                <a:gd name="T1" fmla="*/ 0 h 21600"/>
                <a:gd name="T2" fmla="*/ 158542 w 21600"/>
                <a:gd name="T3" fmla="*/ 158309 h 21600"/>
                <a:gd name="T4" fmla="*/ 0 w 21600"/>
                <a:gd name="T5" fmla="*/ 540544 h 21600"/>
                <a:gd name="T6" fmla="*/ 158542 w 21600"/>
                <a:gd name="T7" fmla="*/ 922779 h 21600"/>
                <a:gd name="T8" fmla="*/ 541338 w 21600"/>
                <a:gd name="T9" fmla="*/ 1081088 h 21600"/>
                <a:gd name="T10" fmla="*/ 924133 w 21600"/>
                <a:gd name="T11" fmla="*/ 922779 h 21600"/>
                <a:gd name="T12" fmla="*/ 1082675 w 21600"/>
                <a:gd name="T13" fmla="*/ 540544 h 21600"/>
                <a:gd name="T14" fmla="*/ 924133 w 21600"/>
                <a:gd name="T15" fmla="*/ 158309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63 w 21600"/>
                <a:gd name="T25" fmla="*/ 3163 h 21600"/>
                <a:gd name="T26" fmla="*/ 18437 w 21600"/>
                <a:gd name="T27" fmla="*/ 18437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2160" y="10800"/>
                  </a:moveTo>
                  <a:cubicBezTo>
                    <a:pt x="2160" y="15572"/>
                    <a:pt x="6028" y="19440"/>
                    <a:pt x="10800" y="19440"/>
                  </a:cubicBezTo>
                  <a:cubicBezTo>
                    <a:pt x="15572" y="19440"/>
                    <a:pt x="19440" y="15572"/>
                    <a:pt x="19440" y="10800"/>
                  </a:cubicBezTo>
                  <a:cubicBezTo>
                    <a:pt x="19440" y="6028"/>
                    <a:pt x="15572" y="2160"/>
                    <a:pt x="10800" y="2160"/>
                  </a:cubicBezTo>
                  <a:cubicBezTo>
                    <a:pt x="6028" y="2160"/>
                    <a:pt x="2160" y="6028"/>
                    <a:pt x="2160" y="10800"/>
                  </a:cubicBezTo>
                  <a:close/>
                </a:path>
              </a:pathLst>
            </a:custGeom>
            <a:gradFill rotWithShape="1">
              <a:gsLst>
                <a:gs pos="0">
                  <a:srgbClr val="F08A46"/>
                </a:gs>
                <a:gs pos="100000">
                  <a:srgbClr val="EB5F01"/>
                </a:gs>
              </a:gsLst>
              <a:lin ang="5400000" scaled="1"/>
            </a:gradFill>
            <a:ln w="9525" cap="flat" cmpd="sng">
              <a:solidFill>
                <a:schemeClr val="bg1"/>
              </a:solidFill>
              <a:miter lim="800000"/>
              <a:headEnd/>
              <a:tailEnd/>
            </a:ln>
            <a:effectLst>
              <a:outerShdw dist="38100" dir="5400000" algn="ctr" rotWithShape="0">
                <a:srgbClr val="482400">
                  <a:alpha val="56000"/>
                </a:srgbClr>
              </a:outerShdw>
            </a:effectLst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35860" name="Oval 55"/>
            <p:cNvSpPr>
              <a:spLocks noChangeArrowheads="1"/>
            </p:cNvSpPr>
            <p:nvPr/>
          </p:nvSpPr>
          <p:spPr bwMode="auto">
            <a:xfrm>
              <a:off x="2844800" y="4708525"/>
              <a:ext cx="993775" cy="992187"/>
            </a:xfrm>
            <a:prstGeom prst="ellipse">
              <a:avLst/>
            </a:prstGeom>
            <a:gradFill rotWithShape="1">
              <a:gsLst>
                <a:gs pos="0">
                  <a:srgbClr val="FED0A2"/>
                </a:gs>
                <a:gs pos="100000">
                  <a:srgbClr val="FFEFDF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35861" name="AutoShape 56"/>
            <p:cNvSpPr>
              <a:spLocks noChangeArrowheads="1"/>
            </p:cNvSpPr>
            <p:nvPr/>
          </p:nvSpPr>
          <p:spPr bwMode="auto">
            <a:xfrm>
              <a:off x="2847975" y="4714875"/>
              <a:ext cx="985838" cy="982662"/>
            </a:xfrm>
            <a:custGeom>
              <a:avLst/>
              <a:gdLst>
                <a:gd name="T0" fmla="*/ 1026783862 w 21600"/>
                <a:gd name="T1" fmla="*/ 0 h 21600"/>
                <a:gd name="T2" fmla="*/ 300713799 w 21600"/>
                <a:gd name="T3" fmla="*/ 297816993 h 21600"/>
                <a:gd name="T4" fmla="*/ 0 w 21600"/>
                <a:gd name="T5" fmla="*/ 1016892117 h 21600"/>
                <a:gd name="T6" fmla="*/ 300713799 w 21600"/>
                <a:gd name="T7" fmla="*/ 1735966422 h 21600"/>
                <a:gd name="T8" fmla="*/ 1026783862 w 21600"/>
                <a:gd name="T9" fmla="*/ 2033784234 h 21600"/>
                <a:gd name="T10" fmla="*/ 1752853652 w 21600"/>
                <a:gd name="T11" fmla="*/ 1735966422 h 21600"/>
                <a:gd name="T12" fmla="*/ 2053567725 w 21600"/>
                <a:gd name="T13" fmla="*/ 1016892117 h 21600"/>
                <a:gd name="T14" fmla="*/ 1752853652 w 21600"/>
                <a:gd name="T15" fmla="*/ 297816993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63 w 21600"/>
                <a:gd name="T25" fmla="*/ 3163 h 21600"/>
                <a:gd name="T26" fmla="*/ 18437 w 21600"/>
                <a:gd name="T27" fmla="*/ 18437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1367" y="10800"/>
                  </a:moveTo>
                  <a:cubicBezTo>
                    <a:pt x="1367" y="16010"/>
                    <a:pt x="5590" y="20233"/>
                    <a:pt x="10800" y="20233"/>
                  </a:cubicBezTo>
                  <a:cubicBezTo>
                    <a:pt x="16010" y="20233"/>
                    <a:pt x="20233" y="16010"/>
                    <a:pt x="20233" y="10800"/>
                  </a:cubicBezTo>
                  <a:cubicBezTo>
                    <a:pt x="20233" y="5590"/>
                    <a:pt x="16010" y="1367"/>
                    <a:pt x="10800" y="1367"/>
                  </a:cubicBezTo>
                  <a:cubicBezTo>
                    <a:pt x="5590" y="1367"/>
                    <a:pt x="1367" y="5590"/>
                    <a:pt x="1367" y="10800"/>
                  </a:cubicBezTo>
                  <a:close/>
                </a:path>
              </a:pathLst>
            </a:custGeom>
            <a:gradFill rotWithShape="1">
              <a:gsLst>
                <a:gs pos="0">
                  <a:srgbClr val="FEBD7C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</p:grpSp>
      <p:grpSp>
        <p:nvGrpSpPr>
          <p:cNvPr id="51" name="组合 50"/>
          <p:cNvGrpSpPr/>
          <p:nvPr/>
        </p:nvGrpSpPr>
        <p:grpSpPr>
          <a:xfrm>
            <a:off x="2235200" y="2963862"/>
            <a:ext cx="1082675" cy="1082675"/>
            <a:chOff x="2235200" y="2963862"/>
            <a:chExt cx="1082675" cy="1082675"/>
          </a:xfrm>
        </p:grpSpPr>
        <p:sp>
          <p:nvSpPr>
            <p:cNvPr id="35862" name="AutoShape 57"/>
            <p:cNvSpPr>
              <a:spLocks noChangeArrowheads="1"/>
            </p:cNvSpPr>
            <p:nvPr/>
          </p:nvSpPr>
          <p:spPr bwMode="auto">
            <a:xfrm>
              <a:off x="2235200" y="2965450"/>
              <a:ext cx="1082675" cy="1081087"/>
            </a:xfrm>
            <a:custGeom>
              <a:avLst/>
              <a:gdLst>
                <a:gd name="T0" fmla="*/ 541338 w 21600"/>
                <a:gd name="T1" fmla="*/ 0 h 21600"/>
                <a:gd name="T2" fmla="*/ 158542 w 21600"/>
                <a:gd name="T3" fmla="*/ 158309 h 21600"/>
                <a:gd name="T4" fmla="*/ 0 w 21600"/>
                <a:gd name="T5" fmla="*/ 540544 h 21600"/>
                <a:gd name="T6" fmla="*/ 158542 w 21600"/>
                <a:gd name="T7" fmla="*/ 922778 h 21600"/>
                <a:gd name="T8" fmla="*/ 541338 w 21600"/>
                <a:gd name="T9" fmla="*/ 1081087 h 21600"/>
                <a:gd name="T10" fmla="*/ 924133 w 21600"/>
                <a:gd name="T11" fmla="*/ 922778 h 21600"/>
                <a:gd name="T12" fmla="*/ 1082675 w 21600"/>
                <a:gd name="T13" fmla="*/ 540544 h 21600"/>
                <a:gd name="T14" fmla="*/ 924133 w 21600"/>
                <a:gd name="T15" fmla="*/ 158309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63 w 21600"/>
                <a:gd name="T25" fmla="*/ 3163 h 21600"/>
                <a:gd name="T26" fmla="*/ 18437 w 21600"/>
                <a:gd name="T27" fmla="*/ 18437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2160" y="10800"/>
                  </a:moveTo>
                  <a:cubicBezTo>
                    <a:pt x="2160" y="15572"/>
                    <a:pt x="6028" y="19440"/>
                    <a:pt x="10800" y="19440"/>
                  </a:cubicBezTo>
                  <a:cubicBezTo>
                    <a:pt x="15572" y="19440"/>
                    <a:pt x="19440" y="15572"/>
                    <a:pt x="19440" y="10800"/>
                  </a:cubicBezTo>
                  <a:cubicBezTo>
                    <a:pt x="19440" y="6028"/>
                    <a:pt x="15572" y="2160"/>
                    <a:pt x="10800" y="2160"/>
                  </a:cubicBezTo>
                  <a:cubicBezTo>
                    <a:pt x="6028" y="2160"/>
                    <a:pt x="2160" y="6028"/>
                    <a:pt x="2160" y="10800"/>
                  </a:cubicBezTo>
                  <a:close/>
                </a:path>
              </a:pathLst>
            </a:custGeom>
            <a:gradFill rotWithShape="1">
              <a:gsLst>
                <a:gs pos="0">
                  <a:srgbClr val="F08A46"/>
                </a:gs>
                <a:gs pos="100000">
                  <a:srgbClr val="EB5F01"/>
                </a:gs>
              </a:gsLst>
              <a:lin ang="5400000" scaled="1"/>
            </a:gradFill>
            <a:ln w="9525" cap="flat" cmpd="sng">
              <a:solidFill>
                <a:schemeClr val="bg1"/>
              </a:solidFill>
              <a:miter lim="800000"/>
              <a:headEnd/>
              <a:tailEnd/>
            </a:ln>
            <a:effectLst>
              <a:outerShdw dist="38100" dir="5400000" algn="ctr" rotWithShape="0">
                <a:srgbClr val="482400">
                  <a:alpha val="56000"/>
                </a:srgbClr>
              </a:outerShdw>
            </a:effectLst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35863" name="Oval 58"/>
            <p:cNvSpPr>
              <a:spLocks noChangeArrowheads="1"/>
            </p:cNvSpPr>
            <p:nvPr/>
          </p:nvSpPr>
          <p:spPr bwMode="auto">
            <a:xfrm>
              <a:off x="2279650" y="2963862"/>
              <a:ext cx="993775" cy="992188"/>
            </a:xfrm>
            <a:prstGeom prst="ellipse">
              <a:avLst/>
            </a:prstGeom>
            <a:gradFill rotWithShape="1">
              <a:gsLst>
                <a:gs pos="0">
                  <a:srgbClr val="FED0A2"/>
                </a:gs>
                <a:gs pos="100000">
                  <a:srgbClr val="FFEFDF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  <p:sp>
          <p:nvSpPr>
            <p:cNvPr id="35864" name="AutoShape 59"/>
            <p:cNvSpPr>
              <a:spLocks noChangeArrowheads="1"/>
            </p:cNvSpPr>
            <p:nvPr/>
          </p:nvSpPr>
          <p:spPr bwMode="auto">
            <a:xfrm>
              <a:off x="2282825" y="2970212"/>
              <a:ext cx="985838" cy="982663"/>
            </a:xfrm>
            <a:custGeom>
              <a:avLst/>
              <a:gdLst>
                <a:gd name="T0" fmla="*/ 1026783862 w 21600"/>
                <a:gd name="T1" fmla="*/ 0 h 21600"/>
                <a:gd name="T2" fmla="*/ 300713799 w 21600"/>
                <a:gd name="T3" fmla="*/ 297817660 h 21600"/>
                <a:gd name="T4" fmla="*/ 0 w 21600"/>
                <a:gd name="T5" fmla="*/ 1016893880 h 21600"/>
                <a:gd name="T6" fmla="*/ 300713799 w 21600"/>
                <a:gd name="T7" fmla="*/ 1735972556 h 21600"/>
                <a:gd name="T8" fmla="*/ 1026783862 w 21600"/>
                <a:gd name="T9" fmla="*/ 2033790671 h 21600"/>
                <a:gd name="T10" fmla="*/ 1752853652 w 21600"/>
                <a:gd name="T11" fmla="*/ 1735972556 h 21600"/>
                <a:gd name="T12" fmla="*/ 2053567725 w 21600"/>
                <a:gd name="T13" fmla="*/ 1016893880 h 21600"/>
                <a:gd name="T14" fmla="*/ 1752853652 w 21600"/>
                <a:gd name="T15" fmla="*/ 29781766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63 w 21600"/>
                <a:gd name="T25" fmla="*/ 3163 h 21600"/>
                <a:gd name="T26" fmla="*/ 18437 w 21600"/>
                <a:gd name="T27" fmla="*/ 18437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1367" y="10800"/>
                  </a:moveTo>
                  <a:cubicBezTo>
                    <a:pt x="1367" y="16010"/>
                    <a:pt x="5590" y="20233"/>
                    <a:pt x="10800" y="20233"/>
                  </a:cubicBezTo>
                  <a:cubicBezTo>
                    <a:pt x="16010" y="20233"/>
                    <a:pt x="20233" y="16010"/>
                    <a:pt x="20233" y="10800"/>
                  </a:cubicBezTo>
                  <a:cubicBezTo>
                    <a:pt x="20233" y="5590"/>
                    <a:pt x="16010" y="1367"/>
                    <a:pt x="10800" y="1367"/>
                  </a:cubicBezTo>
                  <a:cubicBezTo>
                    <a:pt x="5590" y="1367"/>
                    <a:pt x="1367" y="5590"/>
                    <a:pt x="1367" y="10800"/>
                  </a:cubicBezTo>
                  <a:close/>
                </a:path>
              </a:pathLst>
            </a:custGeom>
            <a:gradFill rotWithShape="1">
              <a:gsLst>
                <a:gs pos="0">
                  <a:srgbClr val="FEBD7C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l"/>
              <a:endParaRPr lang="zh-CN" altLang="en-US">
                <a:ea typeface="宋体" pitchFamily="2" charset="-122"/>
              </a:endParaRPr>
            </a:p>
          </p:txBody>
        </p:sp>
      </p:grpSp>
      <p:sp>
        <p:nvSpPr>
          <p:cNvPr id="35865" name="Rectangle 72"/>
          <p:cNvSpPr>
            <a:spLocks noChangeArrowheads="1"/>
          </p:cNvSpPr>
          <p:nvPr/>
        </p:nvSpPr>
        <p:spPr bwMode="auto">
          <a:xfrm>
            <a:off x="4113213" y="1616075"/>
            <a:ext cx="841375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120000"/>
              </a:lnSpc>
            </a:pPr>
            <a:r>
              <a:rPr lang="zh-CN" altLang="en-US">
                <a:solidFill>
                  <a:srgbClr val="184F17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HY견고딕" pitchFamily="2" charset="-127"/>
                <a:ea typeface="宋体" pitchFamily="2" charset="-122"/>
              </a:rPr>
              <a:t>文本</a:t>
            </a:r>
            <a:endParaRPr lang="zh-CN" altLang="en-US" sz="1200">
              <a:solidFill>
                <a:srgbClr val="6B5141"/>
              </a:solidFill>
              <a:latin typeface="HY견고딕" pitchFamily="2" charset="-127"/>
              <a:ea typeface="宋体" pitchFamily="2" charset="-122"/>
            </a:endParaRPr>
          </a:p>
        </p:txBody>
      </p:sp>
      <p:sp>
        <p:nvSpPr>
          <p:cNvPr id="35866" name="Rectangle 73"/>
          <p:cNvSpPr>
            <a:spLocks noChangeArrowheads="1"/>
          </p:cNvSpPr>
          <p:nvPr/>
        </p:nvSpPr>
        <p:spPr bwMode="auto">
          <a:xfrm>
            <a:off x="5883275" y="2965450"/>
            <a:ext cx="841375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120000"/>
              </a:lnSpc>
            </a:pPr>
            <a:r>
              <a:rPr lang="zh-CN" altLang="en-US">
                <a:solidFill>
                  <a:srgbClr val="184F17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HY견고딕" pitchFamily="2" charset="-127"/>
                <a:ea typeface="宋体" pitchFamily="2" charset="-122"/>
              </a:rPr>
              <a:t>文本</a:t>
            </a:r>
            <a:endParaRPr lang="zh-CN" altLang="en-US" sz="1200">
              <a:solidFill>
                <a:srgbClr val="6B5141"/>
              </a:solidFill>
              <a:latin typeface="HY견고딕" pitchFamily="2" charset="-127"/>
              <a:ea typeface="宋体" pitchFamily="2" charset="-122"/>
            </a:endParaRPr>
          </a:p>
        </p:txBody>
      </p:sp>
      <p:sp>
        <p:nvSpPr>
          <p:cNvPr id="35867" name="Rectangle 74"/>
          <p:cNvSpPr>
            <a:spLocks noChangeArrowheads="1"/>
          </p:cNvSpPr>
          <p:nvPr/>
        </p:nvSpPr>
        <p:spPr bwMode="auto">
          <a:xfrm>
            <a:off x="5272088" y="4710112"/>
            <a:ext cx="841375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120000"/>
              </a:lnSpc>
            </a:pPr>
            <a:r>
              <a:rPr lang="zh-CN" altLang="en-US" sz="1600">
                <a:latin typeface="HY견고딕" pitchFamily="2" charset="-127"/>
                <a:ea typeface="宋体" pitchFamily="2" charset="-122"/>
              </a:rPr>
              <a:t>文本</a:t>
            </a:r>
          </a:p>
        </p:txBody>
      </p:sp>
      <p:sp>
        <p:nvSpPr>
          <p:cNvPr id="35868" name="Rectangle 75"/>
          <p:cNvSpPr>
            <a:spLocks noChangeArrowheads="1"/>
          </p:cNvSpPr>
          <p:nvPr/>
        </p:nvSpPr>
        <p:spPr bwMode="auto">
          <a:xfrm>
            <a:off x="2921000" y="4764087"/>
            <a:ext cx="841375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120000"/>
              </a:lnSpc>
            </a:pPr>
            <a:r>
              <a:rPr lang="zh-CN" altLang="en-US">
                <a:solidFill>
                  <a:srgbClr val="184F17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HY견고딕" pitchFamily="2" charset="-127"/>
                <a:ea typeface="宋体" pitchFamily="2" charset="-122"/>
              </a:rPr>
              <a:t>文本</a:t>
            </a:r>
            <a:endParaRPr lang="zh-CN" altLang="en-US" sz="1200">
              <a:solidFill>
                <a:srgbClr val="6B5141"/>
              </a:solidFill>
              <a:latin typeface="HY견고딕" pitchFamily="2" charset="-127"/>
              <a:ea typeface="宋体" pitchFamily="2" charset="-122"/>
            </a:endParaRPr>
          </a:p>
        </p:txBody>
      </p:sp>
      <p:sp>
        <p:nvSpPr>
          <p:cNvPr id="35869" name="Rectangle 76"/>
          <p:cNvSpPr>
            <a:spLocks noChangeArrowheads="1"/>
          </p:cNvSpPr>
          <p:nvPr/>
        </p:nvSpPr>
        <p:spPr bwMode="auto">
          <a:xfrm>
            <a:off x="2355850" y="3019425"/>
            <a:ext cx="841375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120000"/>
              </a:lnSpc>
            </a:pPr>
            <a:r>
              <a:rPr lang="zh-CN" altLang="en-US" dirty="0">
                <a:solidFill>
                  <a:srgbClr val="184F17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HY견고딕" pitchFamily="2" charset="-127"/>
                <a:ea typeface="宋体" pitchFamily="2" charset="-122"/>
              </a:rPr>
              <a:t>文本</a:t>
            </a:r>
            <a:endParaRPr lang="zh-CN" altLang="en-US" sz="1200" dirty="0">
              <a:solidFill>
                <a:srgbClr val="6B5141"/>
              </a:solidFill>
              <a:latin typeface="HY견고딕" pitchFamily="2" charset="-127"/>
              <a:ea typeface="宋体" pitchFamily="2" charset="-122"/>
            </a:endParaRPr>
          </a:p>
        </p:txBody>
      </p:sp>
      <p:sp>
        <p:nvSpPr>
          <p:cNvPr id="35870" name="Text Box 78"/>
          <p:cNvSpPr txBox="1">
            <a:spLocks noChangeArrowheads="1"/>
          </p:cNvSpPr>
          <p:nvPr/>
        </p:nvSpPr>
        <p:spPr bwMode="auto">
          <a:xfrm>
            <a:off x="6267450" y="4945062"/>
            <a:ext cx="21717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/>
            <a:r>
              <a:rPr lang="zh-CN" altLang="en-US" sz="1600">
                <a:ea typeface="宋体" pitchFamily="2" charset="-122"/>
              </a:rPr>
              <a:t>点击输入文本</a:t>
            </a:r>
          </a:p>
        </p:txBody>
      </p:sp>
      <p:sp>
        <p:nvSpPr>
          <p:cNvPr id="35871" name="Text Box 80"/>
          <p:cNvSpPr txBox="1">
            <a:spLocks noChangeArrowheads="1"/>
          </p:cNvSpPr>
          <p:nvPr/>
        </p:nvSpPr>
        <p:spPr bwMode="auto">
          <a:xfrm>
            <a:off x="6873875" y="3135312"/>
            <a:ext cx="1763713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/>
            <a:r>
              <a:rPr lang="zh-CN" altLang="en-US" sz="1600">
                <a:ea typeface="宋体" pitchFamily="2" charset="-122"/>
              </a:rPr>
              <a:t>点击输入文本</a:t>
            </a:r>
          </a:p>
        </p:txBody>
      </p:sp>
      <p:sp>
        <p:nvSpPr>
          <p:cNvPr id="35872" name="Text Box 81"/>
          <p:cNvSpPr txBox="1">
            <a:spLocks noChangeArrowheads="1"/>
          </p:cNvSpPr>
          <p:nvPr/>
        </p:nvSpPr>
        <p:spPr bwMode="auto">
          <a:xfrm>
            <a:off x="5116513" y="1766887"/>
            <a:ext cx="2543175" cy="695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/>
            <a:r>
              <a:rPr lang="zh-CN" altLang="en-US" sz="1600" dirty="0">
                <a:latin typeface="HY헤드라인M" pitchFamily="2" charset="-127"/>
                <a:ea typeface="宋体" pitchFamily="2" charset="-122"/>
              </a:rPr>
              <a:t>点击输入文本</a:t>
            </a:r>
          </a:p>
        </p:txBody>
      </p:sp>
      <p:sp>
        <p:nvSpPr>
          <p:cNvPr id="35873" name="Rectangle 84"/>
          <p:cNvSpPr>
            <a:spLocks noChangeArrowheads="1"/>
          </p:cNvSpPr>
          <p:nvPr/>
        </p:nvSpPr>
        <p:spPr bwMode="auto">
          <a:xfrm>
            <a:off x="3997325" y="3350309"/>
            <a:ext cx="1082675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chemeClr val="bg1"/>
            </a:outerShdw>
          </a:effectLst>
        </p:spPr>
        <p:txBody>
          <a:bodyPr anchor="ctr"/>
          <a:lstStyle/>
          <a:p>
            <a:pPr>
              <a:lnSpc>
                <a:spcPct val="120000"/>
              </a:lnSpc>
            </a:pPr>
            <a:r>
              <a:rPr lang="zh-CN" altLang="en-US" sz="2000" dirty="0">
                <a:solidFill>
                  <a:srgbClr val="8F2103"/>
                </a:solidFill>
                <a:latin typeface="Arial Narrow" pitchFamily="34" charset="0"/>
                <a:ea typeface="宋体" pitchFamily="2" charset="-122"/>
              </a:rPr>
              <a:t>文本</a:t>
            </a:r>
          </a:p>
        </p:txBody>
      </p:sp>
      <p:sp>
        <p:nvSpPr>
          <p:cNvPr id="35874" name="Text Box 80"/>
          <p:cNvSpPr txBox="1">
            <a:spLocks noChangeArrowheads="1"/>
          </p:cNvSpPr>
          <p:nvPr/>
        </p:nvSpPr>
        <p:spPr bwMode="auto">
          <a:xfrm>
            <a:off x="838200" y="3111500"/>
            <a:ext cx="1765300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/>
            <a:r>
              <a:rPr lang="zh-CN" altLang="en-US" sz="1600">
                <a:ea typeface="宋体" pitchFamily="2" charset="-122"/>
              </a:rPr>
              <a:t>点击输入文本</a:t>
            </a:r>
          </a:p>
        </p:txBody>
      </p:sp>
      <p:sp>
        <p:nvSpPr>
          <p:cNvPr id="35875" name="Text Box 80"/>
          <p:cNvSpPr txBox="1">
            <a:spLocks noChangeArrowheads="1"/>
          </p:cNvSpPr>
          <p:nvPr/>
        </p:nvSpPr>
        <p:spPr bwMode="auto">
          <a:xfrm>
            <a:off x="1219200" y="4940300"/>
            <a:ext cx="1765300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/>
            <a:r>
              <a:rPr lang="zh-CN" altLang="en-US" sz="1600">
                <a:ea typeface="宋体" pitchFamily="2" charset="-122"/>
              </a:rPr>
              <a:t>点击输入文本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58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58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7" dur="500"/>
                                        <p:tgtEl>
                                          <p:spTgt spid="358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000"/>
                            </p:stCondLst>
                            <p:childTnLst>
                              <p:par>
                                <p:cTn id="47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6" dur="500"/>
                                        <p:tgtEl>
                                          <p:spTgt spid="358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0"/>
                            </p:stCondLst>
                            <p:childTnLst>
                              <p:par>
                                <p:cTn id="5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0" dur="500"/>
                                        <p:tgtEl>
                                          <p:spTgt spid="358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500"/>
                            </p:stCondLst>
                            <p:childTnLst>
                              <p:par>
                                <p:cTn id="6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4" dur="500"/>
                                        <p:tgtEl>
                                          <p:spTgt spid="358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6000"/>
                            </p:stCondLst>
                            <p:childTnLst>
                              <p:par>
                                <p:cTn id="6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8" dur="500"/>
                                        <p:tgtEl>
                                          <p:spTgt spid="358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6500"/>
                            </p:stCondLst>
                            <p:childTnLst>
                              <p:par>
                                <p:cTn id="7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2" dur="500"/>
                                        <p:tgtEl>
                                          <p:spTgt spid="358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7000"/>
                            </p:stCondLst>
                            <p:childTnLst>
                              <p:par>
                                <p:cTn id="74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8000"/>
                            </p:stCondLst>
                            <p:childTnLst>
                              <p:par>
                                <p:cTn id="79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358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358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358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358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9000"/>
                            </p:stCondLst>
                            <p:childTnLst>
                              <p:par>
                                <p:cTn id="86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358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358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358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358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0000"/>
                            </p:stCondLst>
                            <p:childTnLst>
                              <p:par>
                                <p:cTn id="93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358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358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358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358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1000"/>
                            </p:stCondLst>
                            <p:childTnLst>
                              <p:par>
                                <p:cTn id="100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358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358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358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358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2000"/>
                            </p:stCondLst>
                            <p:childTnLst>
                              <p:par>
                                <p:cTn id="107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358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358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358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358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865" grpId="0"/>
      <p:bldP spid="35866" grpId="0"/>
      <p:bldP spid="35867" grpId="0"/>
      <p:bldP spid="35868" grpId="0"/>
      <p:bldP spid="35869" grpId="0"/>
      <p:bldP spid="35870" grpId="0"/>
      <p:bldP spid="35871" grpId="0"/>
      <p:bldP spid="35872" grpId="0"/>
      <p:bldP spid="35873" grpId="0"/>
      <p:bldP spid="35874" grpId="0"/>
      <p:bldP spid="35875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圆角矩形 15"/>
          <p:cNvSpPr/>
          <p:nvPr/>
        </p:nvSpPr>
        <p:spPr>
          <a:xfrm>
            <a:off x="838200" y="1828800"/>
            <a:ext cx="7391401" cy="2565058"/>
          </a:xfrm>
          <a:prstGeom prst="roundRect">
            <a:avLst>
              <a:gd name="adj" fmla="val 12869"/>
            </a:avLst>
          </a:prstGeom>
          <a:noFill/>
          <a:ln w="25400">
            <a:solidFill>
              <a:schemeClr val="tx1">
                <a:lumMod val="50000"/>
                <a:lumOff val="50000"/>
              </a:schemeClr>
            </a:solidFill>
            <a:prstDash val="sysDash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圆角矩形 18"/>
          <p:cNvSpPr/>
          <p:nvPr/>
        </p:nvSpPr>
        <p:spPr bwMode="auto">
          <a:xfrm>
            <a:off x="1046275" y="2548235"/>
            <a:ext cx="2235976" cy="1644100"/>
          </a:xfrm>
          <a:prstGeom prst="roundRect">
            <a:avLst>
              <a:gd name="adj" fmla="val 17094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FFCF01"/>
                </a:gs>
                <a:gs pos="100000">
                  <a:srgbClr val="E22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圆角矩形 22"/>
          <p:cNvSpPr/>
          <p:nvPr/>
        </p:nvSpPr>
        <p:spPr bwMode="auto">
          <a:xfrm>
            <a:off x="5771843" y="2548235"/>
            <a:ext cx="2235976" cy="1644100"/>
          </a:xfrm>
          <a:prstGeom prst="roundRect">
            <a:avLst>
              <a:gd name="adj" fmla="val 15915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FFCF01"/>
                </a:gs>
                <a:gs pos="100000">
                  <a:srgbClr val="E22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6"/>
          <p:cNvSpPr>
            <a:spLocks noChangeArrowheads="1"/>
          </p:cNvSpPr>
          <p:nvPr/>
        </p:nvSpPr>
        <p:spPr bwMode="auto">
          <a:xfrm>
            <a:off x="5883493" y="2816253"/>
            <a:ext cx="2014058" cy="871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这里请输入文本信息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这里请输入文本信息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这里请输入文本信息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这里请输入文本信息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圆角矩形 25"/>
          <p:cNvSpPr/>
          <p:nvPr/>
        </p:nvSpPr>
        <p:spPr bwMode="auto">
          <a:xfrm>
            <a:off x="3409059" y="2548235"/>
            <a:ext cx="2235976" cy="1644100"/>
          </a:xfrm>
          <a:prstGeom prst="roundRect">
            <a:avLst>
              <a:gd name="adj" fmla="val 15564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FFCF01"/>
                </a:gs>
                <a:gs pos="100000">
                  <a:srgbClr val="E22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7" name="矩形 25"/>
          <p:cNvSpPr>
            <a:spLocks noChangeArrowheads="1"/>
          </p:cNvSpPr>
          <p:nvPr/>
        </p:nvSpPr>
        <p:spPr bwMode="auto">
          <a:xfrm>
            <a:off x="3479384" y="2816253"/>
            <a:ext cx="2095258" cy="871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这里请输入文本信息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这里请输入文本信息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这里请输入文本信息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这里请输入文本信息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TextBox 32"/>
          <p:cNvSpPr txBox="1">
            <a:spLocks noChangeArrowheads="1"/>
          </p:cNvSpPr>
          <p:nvPr/>
        </p:nvSpPr>
        <p:spPr bwMode="auto">
          <a:xfrm>
            <a:off x="1166626" y="2846703"/>
            <a:ext cx="1995207" cy="871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这里请输入文本信息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这里请输入文本信息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这里请输入文本信息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这里请输入文本信息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燕尾形 28"/>
          <p:cNvSpPr/>
          <p:nvPr/>
        </p:nvSpPr>
        <p:spPr>
          <a:xfrm rot="16200000" flipH="1" flipV="1">
            <a:off x="1966973" y="4406509"/>
            <a:ext cx="394584" cy="526112"/>
          </a:xfrm>
          <a:prstGeom prst="chevron">
            <a:avLst>
              <a:gd name="adj" fmla="val 39402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Rectangle 20"/>
          <p:cNvSpPr>
            <a:spLocks noChangeArrowheads="1"/>
          </p:cNvSpPr>
          <p:nvPr/>
        </p:nvSpPr>
        <p:spPr bwMode="auto">
          <a:xfrm>
            <a:off x="1010026" y="4972411"/>
            <a:ext cx="7089075" cy="49445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prst="convex"/>
            <a:bevelB w="0" h="0"/>
            <a:contourClr>
              <a:srgbClr val="AFEAFF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" name="矩形 31"/>
          <p:cNvSpPr/>
          <p:nvPr/>
        </p:nvSpPr>
        <p:spPr bwMode="auto">
          <a:xfrm>
            <a:off x="1587395" y="5059655"/>
            <a:ext cx="5934337" cy="338179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tabLst>
                <a:tab pos="8521700" algn="r"/>
              </a:tabLst>
              <a:defRPr/>
            </a:pPr>
            <a:r>
              <a:rPr lang="zh-CN" altLang="en-US" dirty="0" smtClean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这里请输入文本信息</a:t>
            </a:r>
            <a:endParaRPr lang="zh-CN" altLang="en-US" dirty="0">
              <a:solidFill>
                <a:schemeClr val="bg1"/>
              </a:solidFill>
              <a:effectLst>
                <a:reflection blurRad="6350" stA="50000" endA="300" endPos="50000" dist="60007" dir="5400000" sy="-100000" algn="bl" rotWithShape="0"/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" name="燕尾形 32"/>
          <p:cNvSpPr/>
          <p:nvPr/>
        </p:nvSpPr>
        <p:spPr>
          <a:xfrm rot="16200000" flipH="1" flipV="1">
            <a:off x="4329755" y="4406509"/>
            <a:ext cx="394584" cy="526112"/>
          </a:xfrm>
          <a:prstGeom prst="chevron">
            <a:avLst>
              <a:gd name="adj" fmla="val 39402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" name="燕尾形 33"/>
          <p:cNvSpPr/>
          <p:nvPr/>
        </p:nvSpPr>
        <p:spPr>
          <a:xfrm rot="16200000" flipH="1" flipV="1">
            <a:off x="6692539" y="4406509"/>
            <a:ext cx="394584" cy="526112"/>
          </a:xfrm>
          <a:prstGeom prst="chevron">
            <a:avLst>
              <a:gd name="adj" fmla="val 39402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圆角矩形 16"/>
          <p:cNvSpPr/>
          <p:nvPr/>
        </p:nvSpPr>
        <p:spPr>
          <a:xfrm>
            <a:off x="3622792" y="2015851"/>
            <a:ext cx="1808510" cy="42746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圆角矩形 17"/>
          <p:cNvSpPr/>
          <p:nvPr/>
        </p:nvSpPr>
        <p:spPr>
          <a:xfrm>
            <a:off x="5985576" y="2015851"/>
            <a:ext cx="1808510" cy="42746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" name="圆角矩形 19"/>
          <p:cNvSpPr/>
          <p:nvPr/>
        </p:nvSpPr>
        <p:spPr>
          <a:xfrm>
            <a:off x="1260008" y="2015851"/>
            <a:ext cx="1808510" cy="42746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" name="矩形 20"/>
          <p:cNvSpPr>
            <a:spLocks noChangeArrowheads="1"/>
          </p:cNvSpPr>
          <p:nvPr/>
        </p:nvSpPr>
        <p:spPr bwMode="auto">
          <a:xfrm>
            <a:off x="1361301" y="2048687"/>
            <a:ext cx="1605924" cy="309231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22" name="矩形 21"/>
          <p:cNvSpPr>
            <a:spLocks noChangeArrowheads="1"/>
          </p:cNvSpPr>
          <p:nvPr/>
        </p:nvSpPr>
        <p:spPr bwMode="auto">
          <a:xfrm>
            <a:off x="6086869" y="2048687"/>
            <a:ext cx="1605924" cy="309231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25" name="矩形 24"/>
          <p:cNvSpPr>
            <a:spLocks noChangeArrowheads="1"/>
          </p:cNvSpPr>
          <p:nvPr/>
        </p:nvSpPr>
        <p:spPr bwMode="auto">
          <a:xfrm>
            <a:off x="3724085" y="2048687"/>
            <a:ext cx="1605924" cy="309231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900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900" decel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000"/>
                            </p:stCondLst>
                            <p:childTnLst>
                              <p:par>
                                <p:cTn id="3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500"/>
                            </p:stCondLst>
                            <p:childTnLst>
                              <p:par>
                                <p:cTn id="3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500"/>
                            </p:stCondLst>
                            <p:childTnLst>
                              <p:par>
                                <p:cTn id="43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4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6000"/>
                            </p:stCondLst>
                            <p:childTnLst>
                              <p:par>
                                <p:cTn id="47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4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6500"/>
                            </p:stCondLst>
                            <p:childTnLst>
                              <p:par>
                                <p:cTn id="51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5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7000"/>
                            </p:stCondLst>
                            <p:childTnLst>
                              <p:par>
                                <p:cTn id="5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7500"/>
                            </p:stCondLst>
                            <p:childTnLst>
                              <p:par>
                                <p:cTn id="6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8500"/>
                            </p:stCondLst>
                            <p:childTnLst>
                              <p:par>
                                <p:cTn id="76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9000"/>
                            </p:stCondLst>
                            <p:childTnLst>
                              <p:par>
                                <p:cTn id="80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8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9500"/>
                            </p:stCondLst>
                            <p:childTnLst>
                              <p:par>
                                <p:cTn id="84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8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0000"/>
                            </p:stCondLst>
                            <p:childTnLst>
                              <p:par>
                                <p:cTn id="8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1000"/>
                            </p:stCondLst>
                            <p:childTnLst>
                              <p:par>
                                <p:cTn id="9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9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9" grpId="0" animBg="1"/>
      <p:bldP spid="23" grpId="0" animBg="1"/>
      <p:bldP spid="24" grpId="0"/>
      <p:bldP spid="26" grpId="0" animBg="1"/>
      <p:bldP spid="27" grpId="0"/>
      <p:bldP spid="28" grpId="0"/>
      <p:bldP spid="29" grpId="0" animBg="1"/>
      <p:bldP spid="31" grpId="0" animBg="1"/>
      <p:bldP spid="32" grpId="0"/>
      <p:bldP spid="33" grpId="0" animBg="1"/>
      <p:bldP spid="34" grpId="0" animBg="1"/>
      <p:bldP spid="17" grpId="0" animBg="1"/>
      <p:bldP spid="18" grpId="0" animBg="1"/>
      <p:bldP spid="20" grpId="0" animBg="1"/>
      <p:bldP spid="21" grpId="0"/>
      <p:bldP spid="22" grpId="0"/>
      <p:bldP spid="2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132" name="Group 4"/>
          <p:cNvGrpSpPr>
            <a:grpSpLocks/>
          </p:cNvGrpSpPr>
          <p:nvPr/>
        </p:nvGrpSpPr>
        <p:grpSpPr bwMode="auto">
          <a:xfrm>
            <a:off x="1128713" y="1785937"/>
            <a:ext cx="3324225" cy="406400"/>
            <a:chOff x="0" y="0"/>
            <a:chExt cx="2330" cy="294"/>
          </a:xfrm>
        </p:grpSpPr>
        <p:sp>
          <p:nvSpPr>
            <p:cNvPr id="48133" name="AutoShape 5"/>
            <p:cNvSpPr>
              <a:spLocks noChangeArrowheads="1"/>
            </p:cNvSpPr>
            <p:nvPr/>
          </p:nvSpPr>
          <p:spPr bwMode="auto">
            <a:xfrm>
              <a:off x="0" y="0"/>
              <a:ext cx="2330" cy="294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1B97C3">
                    <a:gamma/>
                    <a:tint val="54118"/>
                    <a:invGamma/>
                  </a:srgbClr>
                </a:gs>
                <a:gs pos="100000">
                  <a:srgbClr val="1B97C3"/>
                </a:gs>
              </a:gsLst>
              <a:lin ang="0" scaled="1"/>
            </a:gradFill>
            <a:ln w="12700" cap="flat" cmpd="sng">
              <a:solidFill>
                <a:srgbClr val="1DA5D5"/>
              </a:solidFill>
              <a:round/>
              <a:headEnd/>
              <a:tailEnd/>
            </a:ln>
            <a:effectLst>
              <a:outerShdw dist="53882" dir="2700000" algn="ctr" rotWithShape="0">
                <a:srgbClr val="292929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48134" name="AutoShape 6"/>
            <p:cNvSpPr>
              <a:spLocks noChangeArrowheads="1"/>
            </p:cNvSpPr>
            <p:nvPr/>
          </p:nvSpPr>
          <p:spPr bwMode="auto">
            <a:xfrm flipH="1">
              <a:off x="2214" y="25"/>
              <a:ext cx="104" cy="246"/>
            </a:xfrm>
            <a:prstGeom prst="moon">
              <a:avLst>
                <a:gd name="adj" fmla="val 22032"/>
              </a:avLst>
            </a:prstGeom>
            <a:gradFill rotWithShape="1">
              <a:gsLst>
                <a:gs pos="0">
                  <a:srgbClr val="FFFFFF">
                    <a:gamma/>
                    <a:shade val="46275"/>
                    <a:invGamma/>
                    <a:alpha val="0"/>
                  </a:srgbClr>
                </a:gs>
                <a:gs pos="50000">
                  <a:srgbClr val="FFFFFF">
                    <a:alpha val="84000"/>
                  </a:srgbClr>
                </a:gs>
                <a:gs pos="100000">
                  <a:srgbClr val="FFFFFF">
                    <a:gamma/>
                    <a:shade val="46275"/>
                    <a:invGamma/>
                    <a:alpha val="0"/>
                  </a:srgbClr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48135" name="AutoShape 7"/>
            <p:cNvSpPr>
              <a:spLocks noChangeArrowheads="1"/>
            </p:cNvSpPr>
            <p:nvPr/>
          </p:nvSpPr>
          <p:spPr bwMode="auto">
            <a:xfrm>
              <a:off x="14" y="26"/>
              <a:ext cx="104" cy="242"/>
            </a:xfrm>
            <a:prstGeom prst="moon">
              <a:avLst>
                <a:gd name="adj" fmla="val 22032"/>
              </a:avLst>
            </a:prstGeom>
            <a:gradFill rotWithShape="1">
              <a:gsLst>
                <a:gs pos="0">
                  <a:srgbClr val="FFFFFF">
                    <a:gamma/>
                    <a:shade val="46275"/>
                    <a:invGamma/>
                    <a:alpha val="0"/>
                  </a:srgbClr>
                </a:gs>
                <a:gs pos="50000">
                  <a:srgbClr val="FFFFFF">
                    <a:alpha val="84000"/>
                  </a:srgbClr>
                </a:gs>
                <a:gs pos="100000">
                  <a:srgbClr val="FFFFFF">
                    <a:gamma/>
                    <a:shade val="46275"/>
                    <a:invGamma/>
                    <a:alpha val="0"/>
                  </a:srgbClr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/>
            </a:p>
          </p:txBody>
        </p:sp>
      </p:grpSp>
      <p:sp>
        <p:nvSpPr>
          <p:cNvPr id="48136" name="Text Box 18"/>
          <p:cNvSpPr txBox="1">
            <a:spLocks noChangeArrowheads="1"/>
          </p:cNvSpPr>
          <p:nvPr/>
        </p:nvSpPr>
        <p:spPr bwMode="auto">
          <a:xfrm>
            <a:off x="1403350" y="1760537"/>
            <a:ext cx="266223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ea typeface="宋体" pitchFamily="2" charset="-122"/>
              </a:rPr>
              <a:t>点击输入文本</a:t>
            </a:r>
          </a:p>
        </p:txBody>
      </p:sp>
      <p:grpSp>
        <p:nvGrpSpPr>
          <p:cNvPr id="38" name="组合 37"/>
          <p:cNvGrpSpPr/>
          <p:nvPr/>
        </p:nvGrpSpPr>
        <p:grpSpPr>
          <a:xfrm>
            <a:off x="4552950" y="2306637"/>
            <a:ext cx="3448050" cy="781050"/>
            <a:chOff x="4552950" y="2459037"/>
            <a:chExt cx="3448050" cy="781050"/>
          </a:xfrm>
        </p:grpSpPr>
        <p:sp>
          <p:nvSpPr>
            <p:cNvPr id="48131" name="AutoShape 3"/>
            <p:cNvSpPr>
              <a:spLocks noChangeArrowheads="1"/>
            </p:cNvSpPr>
            <p:nvPr/>
          </p:nvSpPr>
          <p:spPr bwMode="auto">
            <a:xfrm>
              <a:off x="4760913" y="2459037"/>
              <a:ext cx="3240087" cy="781050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48137" name="AutoShape 9"/>
            <p:cNvSpPr>
              <a:spLocks noChangeArrowheads="1"/>
            </p:cNvSpPr>
            <p:nvPr/>
          </p:nvSpPr>
          <p:spPr bwMode="auto">
            <a:xfrm rot="5400000">
              <a:off x="4552156" y="2631281"/>
              <a:ext cx="427038" cy="425450"/>
            </a:xfrm>
            <a:prstGeom prst="diamond">
              <a:avLst/>
            </a:prstGeom>
            <a:solidFill>
              <a:srgbClr val="FF9900"/>
            </a:solidFill>
            <a:ln w="19050" cap="flat" cmpd="sng">
              <a:solidFill>
                <a:srgbClr val="F8F8F8"/>
              </a:solidFill>
              <a:miter lim="800000"/>
              <a:headEnd/>
              <a:tailEnd/>
            </a:ln>
            <a:effectLst>
              <a:outerShdw sy="50000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4552950" y="3128962"/>
            <a:ext cx="3448050" cy="781050"/>
            <a:chOff x="4552950" y="3281362"/>
            <a:chExt cx="3448050" cy="781050"/>
          </a:xfrm>
        </p:grpSpPr>
        <p:sp>
          <p:nvSpPr>
            <p:cNvPr id="48130" name="AutoShape 2"/>
            <p:cNvSpPr>
              <a:spLocks noChangeArrowheads="1"/>
            </p:cNvSpPr>
            <p:nvPr/>
          </p:nvSpPr>
          <p:spPr bwMode="auto">
            <a:xfrm>
              <a:off x="4760913" y="3281362"/>
              <a:ext cx="3240087" cy="781050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48138" name="AutoShape 10"/>
            <p:cNvSpPr>
              <a:spLocks noChangeArrowheads="1"/>
            </p:cNvSpPr>
            <p:nvPr/>
          </p:nvSpPr>
          <p:spPr bwMode="auto">
            <a:xfrm rot="5400000">
              <a:off x="4552950" y="3454400"/>
              <a:ext cx="425450" cy="425450"/>
            </a:xfrm>
            <a:prstGeom prst="diamond">
              <a:avLst/>
            </a:prstGeom>
            <a:solidFill>
              <a:srgbClr val="99CC00"/>
            </a:solidFill>
            <a:ln w="19050" cap="flat" cmpd="sng">
              <a:solidFill>
                <a:srgbClr val="F8F8F8"/>
              </a:solidFill>
              <a:miter lim="800000"/>
              <a:headEnd/>
              <a:tailEnd/>
            </a:ln>
            <a:effectLst>
              <a:outerShdw sy="50000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40" name="组合 39"/>
          <p:cNvGrpSpPr/>
          <p:nvPr/>
        </p:nvGrpSpPr>
        <p:grpSpPr>
          <a:xfrm>
            <a:off x="4552950" y="3943350"/>
            <a:ext cx="3448050" cy="781050"/>
            <a:chOff x="4552950" y="4095750"/>
            <a:chExt cx="3448050" cy="781050"/>
          </a:xfrm>
        </p:grpSpPr>
        <p:sp>
          <p:nvSpPr>
            <p:cNvPr id="48140" name="AutoShape 12"/>
            <p:cNvSpPr>
              <a:spLocks noChangeArrowheads="1"/>
            </p:cNvSpPr>
            <p:nvPr/>
          </p:nvSpPr>
          <p:spPr bwMode="auto">
            <a:xfrm>
              <a:off x="4760913" y="4095750"/>
              <a:ext cx="3240087" cy="781050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48141" name="AutoShape 13"/>
            <p:cNvSpPr>
              <a:spLocks noChangeArrowheads="1"/>
            </p:cNvSpPr>
            <p:nvPr/>
          </p:nvSpPr>
          <p:spPr bwMode="auto">
            <a:xfrm rot="5400000">
              <a:off x="4552156" y="4269581"/>
              <a:ext cx="427038" cy="425450"/>
            </a:xfrm>
            <a:prstGeom prst="diamond">
              <a:avLst/>
            </a:prstGeom>
            <a:solidFill>
              <a:schemeClr val="tx2"/>
            </a:solidFill>
            <a:ln w="19050" cap="flat" cmpd="sng">
              <a:solidFill>
                <a:srgbClr val="F8F8F8"/>
              </a:solidFill>
              <a:miter lim="800000"/>
              <a:headEnd/>
              <a:tailEnd/>
            </a:ln>
            <a:effectLst>
              <a:outerShdw sy="50000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41" name="组合 40"/>
          <p:cNvGrpSpPr/>
          <p:nvPr/>
        </p:nvGrpSpPr>
        <p:grpSpPr>
          <a:xfrm>
            <a:off x="4552950" y="4765675"/>
            <a:ext cx="3448050" cy="784225"/>
            <a:chOff x="4552950" y="4918075"/>
            <a:chExt cx="3448050" cy="784225"/>
          </a:xfrm>
        </p:grpSpPr>
        <p:sp>
          <p:nvSpPr>
            <p:cNvPr id="48139" name="AutoShape 11"/>
            <p:cNvSpPr>
              <a:spLocks noChangeArrowheads="1"/>
            </p:cNvSpPr>
            <p:nvPr/>
          </p:nvSpPr>
          <p:spPr bwMode="auto">
            <a:xfrm>
              <a:off x="4760913" y="4918075"/>
              <a:ext cx="3240087" cy="784225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48142" name="AutoShape 14"/>
            <p:cNvSpPr>
              <a:spLocks noChangeArrowheads="1"/>
            </p:cNvSpPr>
            <p:nvPr/>
          </p:nvSpPr>
          <p:spPr bwMode="auto">
            <a:xfrm rot="5400000">
              <a:off x="4552156" y="5091906"/>
              <a:ext cx="427038" cy="425450"/>
            </a:xfrm>
            <a:prstGeom prst="diamond">
              <a:avLst/>
            </a:prstGeom>
            <a:solidFill>
              <a:schemeClr val="accent2"/>
            </a:solidFill>
            <a:ln w="19050" cap="flat" cmpd="sng">
              <a:solidFill>
                <a:srgbClr val="F8F8F8"/>
              </a:solidFill>
              <a:miter lim="800000"/>
              <a:headEnd/>
              <a:tailEnd/>
            </a:ln>
            <a:effectLst>
              <a:outerShdw sy="50000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sp>
        <p:nvSpPr>
          <p:cNvPr id="48143" name="Text Box 15"/>
          <p:cNvSpPr txBox="1">
            <a:spLocks noChangeArrowheads="1"/>
          </p:cNvSpPr>
          <p:nvPr/>
        </p:nvSpPr>
        <p:spPr bwMode="auto">
          <a:xfrm>
            <a:off x="5026025" y="2492375"/>
            <a:ext cx="2925763" cy="433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lnSpc>
                <a:spcPct val="70000"/>
              </a:lnSpc>
              <a:spcBef>
                <a:spcPct val="50000"/>
              </a:spcBef>
              <a:buFontTx/>
              <a:buChar char="•"/>
            </a:pPr>
            <a:r>
              <a:rPr lang="zh-CN" altLang="en-US" sz="1400" b="1" dirty="0">
                <a:solidFill>
                  <a:srgbClr val="080808"/>
                </a:solidFill>
                <a:cs typeface="Arial" pitchFamily="34" charset="0"/>
              </a:rPr>
              <a:t> </a:t>
            </a:r>
            <a:r>
              <a:rPr lang="zh-CN" altLang="en-US" sz="1400" b="1" dirty="0">
                <a:solidFill>
                  <a:srgbClr val="080808"/>
                </a:solidFill>
                <a:ea typeface="宋体" pitchFamily="2" charset="-122"/>
              </a:rPr>
              <a:t>点击输入文本信息</a:t>
            </a:r>
          </a:p>
          <a:p>
            <a:pPr algn="l">
              <a:lnSpc>
                <a:spcPct val="70000"/>
              </a:lnSpc>
              <a:spcBef>
                <a:spcPct val="50000"/>
              </a:spcBef>
              <a:buFontTx/>
              <a:buChar char="•"/>
            </a:pPr>
            <a:r>
              <a:rPr lang="zh-CN" altLang="en-US" sz="1400" b="1" dirty="0">
                <a:solidFill>
                  <a:srgbClr val="080808"/>
                </a:solidFill>
                <a:cs typeface="Arial" pitchFamily="34" charset="0"/>
              </a:rPr>
              <a:t> </a:t>
            </a:r>
            <a:r>
              <a:rPr lang="zh-CN" altLang="en-US" sz="1400" b="1" dirty="0">
                <a:solidFill>
                  <a:srgbClr val="080808"/>
                </a:solidFill>
                <a:ea typeface="宋体" pitchFamily="2" charset="-122"/>
              </a:rPr>
              <a:t>点击输入文本信息</a:t>
            </a:r>
          </a:p>
        </p:txBody>
      </p:sp>
      <p:sp>
        <p:nvSpPr>
          <p:cNvPr id="48144" name="Oval 16"/>
          <p:cNvSpPr>
            <a:spLocks noChangeArrowheads="1"/>
          </p:cNvSpPr>
          <p:nvPr/>
        </p:nvSpPr>
        <p:spPr bwMode="auto">
          <a:xfrm>
            <a:off x="1236663" y="2384425"/>
            <a:ext cx="3163887" cy="3165475"/>
          </a:xfrm>
          <a:prstGeom prst="ellipse">
            <a:avLst/>
          </a:prstGeom>
          <a:solidFill>
            <a:srgbClr val="FF9900"/>
          </a:solidFill>
          <a:ln w="19050" cap="flat" cmpd="sng">
            <a:solidFill>
              <a:srgbClr val="F8F8F8"/>
            </a:solidFill>
            <a:round/>
            <a:headEnd/>
            <a:tailEnd/>
          </a:ln>
          <a:effectLst>
            <a:outerShdw dist="91581" dir="3378596" algn="ctr" rotWithShape="0">
              <a:srgbClr val="080808">
                <a:alpha val="50000"/>
              </a:srgbClr>
            </a:outerShdw>
          </a:effec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48145" name="Oval 17"/>
          <p:cNvSpPr>
            <a:spLocks noChangeArrowheads="1"/>
          </p:cNvSpPr>
          <p:nvPr/>
        </p:nvSpPr>
        <p:spPr bwMode="auto">
          <a:xfrm>
            <a:off x="1541463" y="3054350"/>
            <a:ext cx="2554287" cy="2501900"/>
          </a:xfrm>
          <a:prstGeom prst="ellipse">
            <a:avLst/>
          </a:prstGeom>
          <a:solidFill>
            <a:srgbClr val="99CC00"/>
          </a:solidFill>
          <a:ln w="19050" cap="flat" cmpd="sng">
            <a:solidFill>
              <a:srgbClr val="F8F8F8"/>
            </a:solidFill>
            <a:round/>
            <a:headEnd/>
            <a:tailEnd/>
          </a:ln>
          <a:effectLst>
            <a:outerShdw dist="91581" dir="3378596" algn="ctr" rotWithShape="0">
              <a:srgbClr val="080808">
                <a:alpha val="50000"/>
              </a:srgbClr>
            </a:outerShdw>
          </a:effectLst>
        </p:spPr>
        <p:txBody>
          <a:bodyPr wrap="none" anchor="ctr"/>
          <a:lstStyle/>
          <a:p>
            <a:endParaRPr lang="zh-CN" altLang="en-US" dirty="0">
              <a:solidFill>
                <a:srgbClr val="00B050"/>
              </a:solidFill>
            </a:endParaRPr>
          </a:p>
        </p:txBody>
      </p:sp>
      <p:sp>
        <p:nvSpPr>
          <p:cNvPr id="48146" name="Oval 18"/>
          <p:cNvSpPr>
            <a:spLocks noChangeArrowheads="1"/>
          </p:cNvSpPr>
          <p:nvPr/>
        </p:nvSpPr>
        <p:spPr bwMode="auto">
          <a:xfrm>
            <a:off x="1885950" y="3689350"/>
            <a:ext cx="1885950" cy="1868487"/>
          </a:xfrm>
          <a:prstGeom prst="ellipse">
            <a:avLst/>
          </a:prstGeom>
          <a:solidFill>
            <a:schemeClr val="tx2"/>
          </a:solidFill>
          <a:ln w="19050" cap="flat" cmpd="sng">
            <a:solidFill>
              <a:srgbClr val="F8F8F8"/>
            </a:solidFill>
            <a:round/>
            <a:headEnd/>
            <a:tailEnd/>
          </a:ln>
          <a:effectLst>
            <a:outerShdw dist="91581" dir="3378596" algn="ctr" rotWithShape="0">
              <a:srgbClr val="080808">
                <a:alpha val="50000"/>
              </a:srgbClr>
            </a:outerShdw>
          </a:effec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48147" name="Oval 19"/>
          <p:cNvSpPr>
            <a:spLocks noChangeArrowheads="1"/>
          </p:cNvSpPr>
          <p:nvPr/>
        </p:nvSpPr>
        <p:spPr bwMode="auto">
          <a:xfrm>
            <a:off x="2192338" y="4295775"/>
            <a:ext cx="1295400" cy="1266825"/>
          </a:xfrm>
          <a:prstGeom prst="ellipse">
            <a:avLst/>
          </a:prstGeom>
          <a:solidFill>
            <a:schemeClr val="accent2"/>
          </a:solidFill>
          <a:ln w="19050" cap="flat" cmpd="sng">
            <a:solidFill>
              <a:srgbClr val="F8F8F8"/>
            </a:solidFill>
            <a:round/>
            <a:headEnd/>
            <a:tailEnd/>
          </a:ln>
          <a:effectLst>
            <a:outerShdw dist="91581" dir="3378596" algn="ctr" rotWithShape="0">
              <a:srgbClr val="080808">
                <a:alpha val="50000"/>
              </a:srgbClr>
            </a:outerShdw>
          </a:effec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48148" name="Text Box 18"/>
          <p:cNvSpPr txBox="1">
            <a:spLocks noChangeArrowheads="1"/>
          </p:cNvSpPr>
          <p:nvPr/>
        </p:nvSpPr>
        <p:spPr bwMode="auto">
          <a:xfrm>
            <a:off x="2081213" y="4806950"/>
            <a:ext cx="15652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600" b="1" dirty="0">
                <a:solidFill>
                  <a:schemeClr val="accent1">
                    <a:lumMod val="50000"/>
                  </a:schemeClr>
                </a:solidFill>
                <a:ea typeface="宋体" pitchFamily="2" charset="-122"/>
              </a:rPr>
              <a:t>文本信息</a:t>
            </a:r>
          </a:p>
        </p:txBody>
      </p:sp>
      <p:sp>
        <p:nvSpPr>
          <p:cNvPr id="48149" name="Text Box 18"/>
          <p:cNvSpPr txBox="1">
            <a:spLocks noChangeArrowheads="1"/>
          </p:cNvSpPr>
          <p:nvPr/>
        </p:nvSpPr>
        <p:spPr bwMode="auto">
          <a:xfrm>
            <a:off x="1998663" y="3916362"/>
            <a:ext cx="1643062" cy="319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b="1">
                <a:solidFill>
                  <a:srgbClr val="F8F8F8"/>
                </a:solidFill>
                <a:ea typeface="宋体" pitchFamily="2" charset="-122"/>
              </a:rPr>
              <a:t>文本信息</a:t>
            </a:r>
          </a:p>
        </p:txBody>
      </p:sp>
      <p:sp>
        <p:nvSpPr>
          <p:cNvPr id="48150" name="Text Box 18"/>
          <p:cNvSpPr txBox="1">
            <a:spLocks noChangeArrowheads="1"/>
          </p:cNvSpPr>
          <p:nvPr/>
        </p:nvSpPr>
        <p:spPr bwMode="auto">
          <a:xfrm>
            <a:off x="1998663" y="3224212"/>
            <a:ext cx="1643062" cy="319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b="1">
                <a:solidFill>
                  <a:srgbClr val="F8F8F8"/>
                </a:solidFill>
                <a:ea typeface="宋体" pitchFamily="2" charset="-122"/>
              </a:rPr>
              <a:t>文本信息</a:t>
            </a:r>
          </a:p>
        </p:txBody>
      </p:sp>
      <p:sp>
        <p:nvSpPr>
          <p:cNvPr id="48151" name="Text Box 18"/>
          <p:cNvSpPr txBox="1">
            <a:spLocks noChangeArrowheads="1"/>
          </p:cNvSpPr>
          <p:nvPr/>
        </p:nvSpPr>
        <p:spPr bwMode="auto">
          <a:xfrm>
            <a:off x="1998663" y="2555875"/>
            <a:ext cx="1643062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2000" b="1">
                <a:solidFill>
                  <a:srgbClr val="F8F8F8"/>
                </a:solidFill>
                <a:ea typeface="宋体" pitchFamily="2" charset="-122"/>
              </a:rPr>
              <a:t>文本信息</a:t>
            </a:r>
          </a:p>
        </p:txBody>
      </p:sp>
      <p:sp>
        <p:nvSpPr>
          <p:cNvPr id="48152" name="Text Box 24"/>
          <p:cNvSpPr txBox="1">
            <a:spLocks noChangeArrowheads="1"/>
          </p:cNvSpPr>
          <p:nvPr/>
        </p:nvSpPr>
        <p:spPr bwMode="auto">
          <a:xfrm>
            <a:off x="5026025" y="3305175"/>
            <a:ext cx="2925763" cy="433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lnSpc>
                <a:spcPct val="70000"/>
              </a:lnSpc>
              <a:spcBef>
                <a:spcPct val="50000"/>
              </a:spcBef>
              <a:buFontTx/>
              <a:buChar char="•"/>
            </a:pPr>
            <a:r>
              <a:rPr lang="zh-CN" altLang="en-US" sz="1400" b="1">
                <a:solidFill>
                  <a:srgbClr val="080808"/>
                </a:solidFill>
                <a:cs typeface="Arial" pitchFamily="34" charset="0"/>
              </a:rPr>
              <a:t> </a:t>
            </a:r>
            <a:r>
              <a:rPr lang="zh-CN" altLang="en-US" sz="1400" b="1">
                <a:solidFill>
                  <a:srgbClr val="080808"/>
                </a:solidFill>
                <a:ea typeface="宋体" pitchFamily="2" charset="-122"/>
              </a:rPr>
              <a:t>点击输入文本信息</a:t>
            </a:r>
          </a:p>
          <a:p>
            <a:pPr algn="l">
              <a:lnSpc>
                <a:spcPct val="70000"/>
              </a:lnSpc>
              <a:spcBef>
                <a:spcPct val="50000"/>
              </a:spcBef>
              <a:buFontTx/>
              <a:buChar char="•"/>
            </a:pPr>
            <a:r>
              <a:rPr lang="zh-CN" altLang="en-US" sz="1400" b="1">
                <a:solidFill>
                  <a:srgbClr val="080808"/>
                </a:solidFill>
                <a:cs typeface="Arial" pitchFamily="34" charset="0"/>
              </a:rPr>
              <a:t> </a:t>
            </a:r>
            <a:r>
              <a:rPr lang="zh-CN" altLang="en-US" sz="1400" b="1">
                <a:solidFill>
                  <a:srgbClr val="080808"/>
                </a:solidFill>
                <a:ea typeface="宋体" pitchFamily="2" charset="-122"/>
              </a:rPr>
              <a:t>点击输入文本信息</a:t>
            </a:r>
          </a:p>
        </p:txBody>
      </p:sp>
      <p:sp>
        <p:nvSpPr>
          <p:cNvPr id="48153" name="Text Box 25"/>
          <p:cNvSpPr txBox="1">
            <a:spLocks noChangeArrowheads="1"/>
          </p:cNvSpPr>
          <p:nvPr/>
        </p:nvSpPr>
        <p:spPr bwMode="auto">
          <a:xfrm>
            <a:off x="5026025" y="4125912"/>
            <a:ext cx="2925763" cy="43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lnSpc>
                <a:spcPct val="70000"/>
              </a:lnSpc>
              <a:spcBef>
                <a:spcPct val="50000"/>
              </a:spcBef>
              <a:buFontTx/>
              <a:buChar char="•"/>
            </a:pPr>
            <a:r>
              <a:rPr lang="zh-CN" altLang="en-US" sz="1400" b="1">
                <a:solidFill>
                  <a:srgbClr val="080808"/>
                </a:solidFill>
                <a:cs typeface="Arial" pitchFamily="34" charset="0"/>
              </a:rPr>
              <a:t> </a:t>
            </a:r>
            <a:r>
              <a:rPr lang="zh-CN" altLang="en-US" sz="1400" b="1">
                <a:solidFill>
                  <a:srgbClr val="080808"/>
                </a:solidFill>
                <a:ea typeface="宋体" pitchFamily="2" charset="-122"/>
              </a:rPr>
              <a:t>点击输入文本信息</a:t>
            </a:r>
          </a:p>
          <a:p>
            <a:pPr algn="l">
              <a:lnSpc>
                <a:spcPct val="70000"/>
              </a:lnSpc>
              <a:spcBef>
                <a:spcPct val="50000"/>
              </a:spcBef>
              <a:buFontTx/>
              <a:buChar char="•"/>
            </a:pPr>
            <a:r>
              <a:rPr lang="zh-CN" altLang="en-US" sz="1400" b="1">
                <a:solidFill>
                  <a:srgbClr val="080808"/>
                </a:solidFill>
                <a:cs typeface="Arial" pitchFamily="34" charset="0"/>
              </a:rPr>
              <a:t> </a:t>
            </a:r>
            <a:r>
              <a:rPr lang="zh-CN" altLang="en-US" sz="1400" b="1">
                <a:solidFill>
                  <a:srgbClr val="080808"/>
                </a:solidFill>
                <a:ea typeface="宋体" pitchFamily="2" charset="-122"/>
              </a:rPr>
              <a:t>点击输入文本信息</a:t>
            </a:r>
          </a:p>
        </p:txBody>
      </p:sp>
      <p:sp>
        <p:nvSpPr>
          <p:cNvPr id="48154" name="Text Box 26"/>
          <p:cNvSpPr txBox="1">
            <a:spLocks noChangeArrowheads="1"/>
          </p:cNvSpPr>
          <p:nvPr/>
        </p:nvSpPr>
        <p:spPr bwMode="auto">
          <a:xfrm>
            <a:off x="5026025" y="4938712"/>
            <a:ext cx="2925763" cy="43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lnSpc>
                <a:spcPct val="70000"/>
              </a:lnSpc>
              <a:spcBef>
                <a:spcPct val="50000"/>
              </a:spcBef>
              <a:buFontTx/>
              <a:buChar char="•"/>
            </a:pPr>
            <a:r>
              <a:rPr lang="zh-CN" altLang="en-US" sz="1400" b="1">
                <a:solidFill>
                  <a:srgbClr val="080808"/>
                </a:solidFill>
                <a:cs typeface="Arial" pitchFamily="34" charset="0"/>
              </a:rPr>
              <a:t> </a:t>
            </a:r>
            <a:r>
              <a:rPr lang="zh-CN" altLang="en-US" sz="1400" b="1">
                <a:solidFill>
                  <a:srgbClr val="080808"/>
                </a:solidFill>
                <a:ea typeface="宋体" pitchFamily="2" charset="-122"/>
              </a:rPr>
              <a:t>点击输入文本信息</a:t>
            </a:r>
          </a:p>
          <a:p>
            <a:pPr algn="l">
              <a:lnSpc>
                <a:spcPct val="70000"/>
              </a:lnSpc>
              <a:spcBef>
                <a:spcPct val="50000"/>
              </a:spcBef>
              <a:buFontTx/>
              <a:buChar char="•"/>
            </a:pPr>
            <a:r>
              <a:rPr lang="zh-CN" altLang="en-US" sz="1400" b="1">
                <a:solidFill>
                  <a:srgbClr val="080808"/>
                </a:solidFill>
                <a:cs typeface="Arial" pitchFamily="34" charset="0"/>
              </a:rPr>
              <a:t> </a:t>
            </a:r>
            <a:r>
              <a:rPr lang="zh-CN" altLang="en-US" sz="1400" b="1">
                <a:solidFill>
                  <a:srgbClr val="080808"/>
                </a:solidFill>
                <a:ea typeface="宋体" pitchFamily="2" charset="-122"/>
              </a:rPr>
              <a:t>点击输入文本信息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81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81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81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81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81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81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81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81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7" dur="500"/>
                                        <p:tgtEl>
                                          <p:spTgt spid="48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1" dur="500"/>
                                        <p:tgtEl>
                                          <p:spTgt spid="48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5" dur="500"/>
                                        <p:tgtEl>
                                          <p:spTgt spid="48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9" dur="500"/>
                                        <p:tgtEl>
                                          <p:spTgt spid="48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0"/>
                            </p:stCondLst>
                            <p:childTnLst>
                              <p:par>
                                <p:cTn id="41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48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8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8" dur="500"/>
                                        <p:tgtEl>
                                          <p:spTgt spid="48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0"/>
                            </p:stCondLst>
                            <p:childTnLst>
                              <p:par>
                                <p:cTn id="5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500"/>
                            </p:stCondLst>
                            <p:childTnLst>
                              <p:par>
                                <p:cTn id="5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481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481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6000"/>
                            </p:stCondLst>
                            <p:childTnLst>
                              <p:par>
                                <p:cTn id="6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500"/>
                            </p:stCondLst>
                            <p:childTnLst>
                              <p:par>
                                <p:cTn id="6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481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48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7000"/>
                            </p:stCondLst>
                            <p:childTnLst>
                              <p:par>
                                <p:cTn id="7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7500"/>
                            </p:stCondLst>
                            <p:childTnLst>
                              <p:par>
                                <p:cTn id="7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481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81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8000"/>
                            </p:stCondLst>
                            <p:childTnLst>
                              <p:par>
                                <p:cTn id="8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8500"/>
                            </p:stCondLst>
                            <p:childTnLst>
                              <p:par>
                                <p:cTn id="8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481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48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36" grpId="0"/>
      <p:bldP spid="48143" grpId="0"/>
      <p:bldP spid="48144" grpId="0" animBg="1"/>
      <p:bldP spid="48145" grpId="0" animBg="1"/>
      <p:bldP spid="48146" grpId="0" animBg="1"/>
      <p:bldP spid="48147" grpId="0" animBg="1"/>
      <p:bldP spid="48148" grpId="0"/>
      <p:bldP spid="48149" grpId="0"/>
      <p:bldP spid="48150" grpId="0"/>
      <p:bldP spid="48151" grpId="0"/>
      <p:bldP spid="48152" grpId="0"/>
      <p:bldP spid="48153" grpId="0"/>
      <p:bldP spid="48154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17"/>
          <p:cNvSpPr>
            <a:spLocks noChangeArrowheads="1"/>
          </p:cNvSpPr>
          <p:nvPr/>
        </p:nvSpPr>
        <p:spPr bwMode="gray">
          <a:xfrm>
            <a:off x="2546350" y="1600200"/>
            <a:ext cx="5580063" cy="4140200"/>
          </a:xfrm>
          <a:prstGeom prst="roundRect">
            <a:avLst>
              <a:gd name="adj" fmla="val 1860"/>
            </a:avLst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4" name="Freeform 3"/>
          <p:cNvSpPr>
            <a:spLocks/>
          </p:cNvSpPr>
          <p:nvPr/>
        </p:nvSpPr>
        <p:spPr bwMode="auto">
          <a:xfrm flipV="1">
            <a:off x="6311483" y="4303780"/>
            <a:ext cx="1620948" cy="125514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14"/>
              </a:cxn>
              <a:cxn ang="0">
                <a:pos x="48" y="247"/>
              </a:cxn>
              <a:cxn ang="0">
                <a:pos x="48" y="247"/>
              </a:cxn>
              <a:cxn ang="0">
                <a:pos x="77" y="237"/>
              </a:cxn>
              <a:cxn ang="0">
                <a:pos x="125" y="284"/>
              </a:cxn>
              <a:cxn ang="0">
                <a:pos x="77" y="332"/>
              </a:cxn>
              <a:cxn ang="0">
                <a:pos x="48" y="322"/>
              </a:cxn>
              <a:cxn ang="0">
                <a:pos x="48" y="322"/>
              </a:cxn>
              <a:cxn ang="0">
                <a:pos x="0" y="354"/>
              </a:cxn>
              <a:cxn ang="0">
                <a:pos x="0" y="564"/>
              </a:cxn>
              <a:cxn ang="0">
                <a:pos x="212" y="564"/>
              </a:cxn>
              <a:cxn ang="0">
                <a:pos x="245" y="516"/>
              </a:cxn>
              <a:cxn ang="0">
                <a:pos x="245" y="516"/>
              </a:cxn>
              <a:cxn ang="0">
                <a:pos x="235" y="487"/>
              </a:cxn>
              <a:cxn ang="0">
                <a:pos x="283" y="439"/>
              </a:cxn>
              <a:cxn ang="0">
                <a:pos x="330" y="487"/>
              </a:cxn>
              <a:cxn ang="0">
                <a:pos x="320" y="516"/>
              </a:cxn>
              <a:cxn ang="0">
                <a:pos x="320" y="516"/>
              </a:cxn>
              <a:cxn ang="0">
                <a:pos x="353" y="564"/>
              </a:cxn>
              <a:cxn ang="0">
                <a:pos x="564" y="564"/>
              </a:cxn>
              <a:cxn ang="0">
                <a:pos x="564" y="0"/>
              </a:cxn>
              <a:cxn ang="0">
                <a:pos x="0" y="0"/>
              </a:cxn>
            </a:cxnLst>
            <a:rect l="0" t="0" r="r" b="b"/>
            <a:pathLst>
              <a:path w="564" h="564">
                <a:moveTo>
                  <a:pt x="0" y="0"/>
                </a:moveTo>
                <a:cubicBezTo>
                  <a:pt x="0" y="214"/>
                  <a:pt x="0" y="214"/>
                  <a:pt x="0" y="214"/>
                </a:cubicBezTo>
                <a:cubicBezTo>
                  <a:pt x="0" y="230"/>
                  <a:pt x="26" y="265"/>
                  <a:pt x="48" y="247"/>
                </a:cubicBezTo>
                <a:cubicBezTo>
                  <a:pt x="48" y="247"/>
                  <a:pt x="48" y="247"/>
                  <a:pt x="48" y="247"/>
                </a:cubicBezTo>
                <a:cubicBezTo>
                  <a:pt x="56" y="241"/>
                  <a:pt x="66" y="237"/>
                  <a:pt x="77" y="237"/>
                </a:cubicBezTo>
                <a:cubicBezTo>
                  <a:pt x="103" y="237"/>
                  <a:pt x="125" y="258"/>
                  <a:pt x="125" y="284"/>
                </a:cubicBezTo>
                <a:cubicBezTo>
                  <a:pt x="125" y="310"/>
                  <a:pt x="103" y="332"/>
                  <a:pt x="77" y="332"/>
                </a:cubicBezTo>
                <a:cubicBezTo>
                  <a:pt x="66" y="332"/>
                  <a:pt x="56" y="328"/>
                  <a:pt x="48" y="322"/>
                </a:cubicBezTo>
                <a:cubicBezTo>
                  <a:pt x="48" y="322"/>
                  <a:pt x="48" y="322"/>
                  <a:pt x="48" y="322"/>
                </a:cubicBezTo>
                <a:cubicBezTo>
                  <a:pt x="26" y="303"/>
                  <a:pt x="0" y="339"/>
                  <a:pt x="0" y="354"/>
                </a:cubicBezTo>
                <a:cubicBezTo>
                  <a:pt x="0" y="564"/>
                  <a:pt x="0" y="564"/>
                  <a:pt x="0" y="564"/>
                </a:cubicBezTo>
                <a:cubicBezTo>
                  <a:pt x="212" y="564"/>
                  <a:pt x="212" y="564"/>
                  <a:pt x="212" y="564"/>
                </a:cubicBezTo>
                <a:cubicBezTo>
                  <a:pt x="228" y="564"/>
                  <a:pt x="263" y="538"/>
                  <a:pt x="245" y="516"/>
                </a:cubicBezTo>
                <a:cubicBezTo>
                  <a:pt x="245" y="516"/>
                  <a:pt x="245" y="516"/>
                  <a:pt x="245" y="516"/>
                </a:cubicBezTo>
                <a:cubicBezTo>
                  <a:pt x="239" y="508"/>
                  <a:pt x="235" y="498"/>
                  <a:pt x="235" y="487"/>
                </a:cubicBezTo>
                <a:cubicBezTo>
                  <a:pt x="235" y="461"/>
                  <a:pt x="256" y="439"/>
                  <a:pt x="283" y="439"/>
                </a:cubicBezTo>
                <a:cubicBezTo>
                  <a:pt x="309" y="439"/>
                  <a:pt x="330" y="461"/>
                  <a:pt x="330" y="487"/>
                </a:cubicBezTo>
                <a:cubicBezTo>
                  <a:pt x="330" y="498"/>
                  <a:pt x="326" y="508"/>
                  <a:pt x="320" y="516"/>
                </a:cubicBezTo>
                <a:cubicBezTo>
                  <a:pt x="320" y="516"/>
                  <a:pt x="320" y="516"/>
                  <a:pt x="320" y="516"/>
                </a:cubicBezTo>
                <a:cubicBezTo>
                  <a:pt x="302" y="538"/>
                  <a:pt x="337" y="564"/>
                  <a:pt x="353" y="564"/>
                </a:cubicBezTo>
                <a:cubicBezTo>
                  <a:pt x="564" y="564"/>
                  <a:pt x="564" y="564"/>
                  <a:pt x="564" y="564"/>
                </a:cubicBezTo>
                <a:cubicBezTo>
                  <a:pt x="564" y="0"/>
                  <a:pt x="564" y="0"/>
                  <a:pt x="56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6EFF01">
              <a:alpha val="60000"/>
            </a:srgb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5" name="Freeform 8"/>
          <p:cNvSpPr>
            <a:spLocks/>
          </p:cNvSpPr>
          <p:nvPr/>
        </p:nvSpPr>
        <p:spPr bwMode="auto">
          <a:xfrm flipV="1">
            <a:off x="6311483" y="2774171"/>
            <a:ext cx="1620948" cy="1808530"/>
          </a:xfrm>
          <a:custGeom>
            <a:avLst/>
            <a:gdLst/>
            <a:ahLst/>
            <a:cxnLst>
              <a:cxn ang="0">
                <a:pos x="353" y="125"/>
              </a:cxn>
              <a:cxn ang="0">
                <a:pos x="320" y="77"/>
              </a:cxn>
              <a:cxn ang="0">
                <a:pos x="320" y="77"/>
              </a:cxn>
              <a:cxn ang="0">
                <a:pos x="330" y="48"/>
              </a:cxn>
              <a:cxn ang="0">
                <a:pos x="283" y="0"/>
              </a:cxn>
              <a:cxn ang="0">
                <a:pos x="235" y="48"/>
              </a:cxn>
              <a:cxn ang="0">
                <a:pos x="245" y="77"/>
              </a:cxn>
              <a:cxn ang="0">
                <a:pos x="245" y="77"/>
              </a:cxn>
              <a:cxn ang="0">
                <a:pos x="212" y="125"/>
              </a:cxn>
              <a:cxn ang="0">
                <a:pos x="0" y="125"/>
              </a:cxn>
              <a:cxn ang="0">
                <a:pos x="0" y="339"/>
              </a:cxn>
              <a:cxn ang="0">
                <a:pos x="48" y="372"/>
              </a:cxn>
              <a:cxn ang="0">
                <a:pos x="48" y="372"/>
              </a:cxn>
              <a:cxn ang="0">
                <a:pos x="77" y="362"/>
              </a:cxn>
              <a:cxn ang="0">
                <a:pos x="125" y="409"/>
              </a:cxn>
              <a:cxn ang="0">
                <a:pos x="77" y="457"/>
              </a:cxn>
              <a:cxn ang="0">
                <a:pos x="48" y="447"/>
              </a:cxn>
              <a:cxn ang="0">
                <a:pos x="48" y="447"/>
              </a:cxn>
              <a:cxn ang="0">
                <a:pos x="0" y="479"/>
              </a:cxn>
              <a:cxn ang="0">
                <a:pos x="0" y="689"/>
              </a:cxn>
              <a:cxn ang="0">
                <a:pos x="212" y="689"/>
              </a:cxn>
              <a:cxn ang="0">
                <a:pos x="245" y="736"/>
              </a:cxn>
              <a:cxn ang="0">
                <a:pos x="245" y="736"/>
              </a:cxn>
              <a:cxn ang="0">
                <a:pos x="235" y="765"/>
              </a:cxn>
              <a:cxn ang="0">
                <a:pos x="283" y="813"/>
              </a:cxn>
              <a:cxn ang="0">
                <a:pos x="330" y="765"/>
              </a:cxn>
              <a:cxn ang="0">
                <a:pos x="320" y="736"/>
              </a:cxn>
              <a:cxn ang="0">
                <a:pos x="320" y="736"/>
              </a:cxn>
              <a:cxn ang="0">
                <a:pos x="353" y="689"/>
              </a:cxn>
              <a:cxn ang="0">
                <a:pos x="564" y="689"/>
              </a:cxn>
              <a:cxn ang="0">
                <a:pos x="564" y="125"/>
              </a:cxn>
              <a:cxn ang="0">
                <a:pos x="353" y="125"/>
              </a:cxn>
            </a:cxnLst>
            <a:rect l="0" t="0" r="r" b="b"/>
            <a:pathLst>
              <a:path w="564" h="813">
                <a:moveTo>
                  <a:pt x="353" y="125"/>
                </a:moveTo>
                <a:cubicBezTo>
                  <a:pt x="337" y="125"/>
                  <a:pt x="302" y="99"/>
                  <a:pt x="320" y="77"/>
                </a:cubicBezTo>
                <a:cubicBezTo>
                  <a:pt x="320" y="77"/>
                  <a:pt x="320" y="77"/>
                  <a:pt x="320" y="77"/>
                </a:cubicBezTo>
                <a:cubicBezTo>
                  <a:pt x="326" y="69"/>
                  <a:pt x="330" y="59"/>
                  <a:pt x="330" y="48"/>
                </a:cubicBezTo>
                <a:cubicBezTo>
                  <a:pt x="330" y="22"/>
                  <a:pt x="309" y="0"/>
                  <a:pt x="283" y="0"/>
                </a:cubicBezTo>
                <a:cubicBezTo>
                  <a:pt x="256" y="0"/>
                  <a:pt x="235" y="22"/>
                  <a:pt x="235" y="48"/>
                </a:cubicBezTo>
                <a:cubicBezTo>
                  <a:pt x="235" y="59"/>
                  <a:pt x="239" y="69"/>
                  <a:pt x="245" y="77"/>
                </a:cubicBezTo>
                <a:cubicBezTo>
                  <a:pt x="245" y="77"/>
                  <a:pt x="245" y="77"/>
                  <a:pt x="245" y="77"/>
                </a:cubicBezTo>
                <a:cubicBezTo>
                  <a:pt x="263" y="99"/>
                  <a:pt x="228" y="125"/>
                  <a:pt x="212" y="125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339"/>
                  <a:pt x="0" y="339"/>
                  <a:pt x="0" y="339"/>
                </a:cubicBezTo>
                <a:cubicBezTo>
                  <a:pt x="0" y="355"/>
                  <a:pt x="26" y="390"/>
                  <a:pt x="48" y="372"/>
                </a:cubicBezTo>
                <a:cubicBezTo>
                  <a:pt x="48" y="372"/>
                  <a:pt x="48" y="372"/>
                  <a:pt x="48" y="372"/>
                </a:cubicBezTo>
                <a:cubicBezTo>
                  <a:pt x="56" y="366"/>
                  <a:pt x="66" y="362"/>
                  <a:pt x="77" y="362"/>
                </a:cubicBezTo>
                <a:cubicBezTo>
                  <a:pt x="103" y="362"/>
                  <a:pt x="125" y="383"/>
                  <a:pt x="125" y="409"/>
                </a:cubicBezTo>
                <a:cubicBezTo>
                  <a:pt x="125" y="435"/>
                  <a:pt x="103" y="457"/>
                  <a:pt x="77" y="457"/>
                </a:cubicBezTo>
                <a:cubicBezTo>
                  <a:pt x="66" y="457"/>
                  <a:pt x="56" y="453"/>
                  <a:pt x="48" y="447"/>
                </a:cubicBezTo>
                <a:cubicBezTo>
                  <a:pt x="48" y="447"/>
                  <a:pt x="48" y="447"/>
                  <a:pt x="48" y="447"/>
                </a:cubicBezTo>
                <a:cubicBezTo>
                  <a:pt x="26" y="428"/>
                  <a:pt x="0" y="464"/>
                  <a:pt x="0" y="479"/>
                </a:cubicBezTo>
                <a:cubicBezTo>
                  <a:pt x="0" y="689"/>
                  <a:pt x="0" y="689"/>
                  <a:pt x="0" y="689"/>
                </a:cubicBezTo>
                <a:cubicBezTo>
                  <a:pt x="212" y="689"/>
                  <a:pt x="212" y="689"/>
                  <a:pt x="212" y="689"/>
                </a:cubicBezTo>
                <a:cubicBezTo>
                  <a:pt x="228" y="689"/>
                  <a:pt x="263" y="714"/>
                  <a:pt x="245" y="736"/>
                </a:cubicBezTo>
                <a:cubicBezTo>
                  <a:pt x="245" y="736"/>
                  <a:pt x="245" y="736"/>
                  <a:pt x="245" y="736"/>
                </a:cubicBezTo>
                <a:cubicBezTo>
                  <a:pt x="239" y="744"/>
                  <a:pt x="235" y="754"/>
                  <a:pt x="235" y="765"/>
                </a:cubicBezTo>
                <a:cubicBezTo>
                  <a:pt x="235" y="792"/>
                  <a:pt x="256" y="813"/>
                  <a:pt x="283" y="813"/>
                </a:cubicBezTo>
                <a:cubicBezTo>
                  <a:pt x="309" y="813"/>
                  <a:pt x="330" y="792"/>
                  <a:pt x="330" y="765"/>
                </a:cubicBezTo>
                <a:cubicBezTo>
                  <a:pt x="330" y="754"/>
                  <a:pt x="326" y="744"/>
                  <a:pt x="320" y="736"/>
                </a:cubicBezTo>
                <a:cubicBezTo>
                  <a:pt x="320" y="736"/>
                  <a:pt x="320" y="736"/>
                  <a:pt x="320" y="736"/>
                </a:cubicBezTo>
                <a:cubicBezTo>
                  <a:pt x="302" y="714"/>
                  <a:pt x="337" y="689"/>
                  <a:pt x="353" y="689"/>
                </a:cubicBezTo>
                <a:cubicBezTo>
                  <a:pt x="564" y="689"/>
                  <a:pt x="564" y="689"/>
                  <a:pt x="564" y="689"/>
                </a:cubicBezTo>
                <a:cubicBezTo>
                  <a:pt x="564" y="125"/>
                  <a:pt x="564" y="125"/>
                  <a:pt x="564" y="125"/>
                </a:cubicBezTo>
                <a:lnTo>
                  <a:pt x="353" y="125"/>
                </a:lnTo>
                <a:close/>
              </a:path>
            </a:pathLst>
          </a:custGeom>
          <a:solidFill>
            <a:srgbClr val="2DD7FF">
              <a:alpha val="60000"/>
            </a:srgb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6" name="Freeform 2"/>
          <p:cNvSpPr>
            <a:spLocks/>
          </p:cNvSpPr>
          <p:nvPr/>
        </p:nvSpPr>
        <p:spPr bwMode="auto">
          <a:xfrm flipV="1">
            <a:off x="3072431" y="4303780"/>
            <a:ext cx="1619005" cy="1255140"/>
          </a:xfrm>
          <a:custGeom>
            <a:avLst/>
            <a:gdLst/>
            <a:ahLst/>
            <a:cxnLst>
              <a:cxn ang="0">
                <a:pos x="245" y="516"/>
              </a:cxn>
              <a:cxn ang="0">
                <a:pos x="245" y="516"/>
              </a:cxn>
              <a:cxn ang="0">
                <a:pos x="235" y="487"/>
              </a:cxn>
              <a:cxn ang="0">
                <a:pos x="283" y="439"/>
              </a:cxn>
              <a:cxn ang="0">
                <a:pos x="330" y="487"/>
              </a:cxn>
              <a:cxn ang="0">
                <a:pos x="320" y="516"/>
              </a:cxn>
              <a:cxn ang="0">
                <a:pos x="320" y="516"/>
              </a:cxn>
              <a:cxn ang="0">
                <a:pos x="353" y="564"/>
              </a:cxn>
              <a:cxn ang="0">
                <a:pos x="564" y="564"/>
              </a:cxn>
              <a:cxn ang="0">
                <a:pos x="564" y="354"/>
              </a:cxn>
              <a:cxn ang="0">
                <a:pos x="517" y="322"/>
              </a:cxn>
              <a:cxn ang="0">
                <a:pos x="517" y="322"/>
              </a:cxn>
              <a:cxn ang="0">
                <a:pos x="488" y="332"/>
              </a:cxn>
              <a:cxn ang="0">
                <a:pos x="440" y="284"/>
              </a:cxn>
              <a:cxn ang="0">
                <a:pos x="488" y="237"/>
              </a:cxn>
              <a:cxn ang="0">
                <a:pos x="517" y="247"/>
              </a:cxn>
              <a:cxn ang="0">
                <a:pos x="517" y="247"/>
              </a:cxn>
              <a:cxn ang="0">
                <a:pos x="564" y="214"/>
              </a:cxn>
              <a:cxn ang="0">
                <a:pos x="564" y="0"/>
              </a:cxn>
              <a:cxn ang="0">
                <a:pos x="564" y="0"/>
              </a:cxn>
              <a:cxn ang="0">
                <a:pos x="0" y="0"/>
              </a:cxn>
              <a:cxn ang="0">
                <a:pos x="0" y="564"/>
              </a:cxn>
              <a:cxn ang="0">
                <a:pos x="213" y="564"/>
              </a:cxn>
              <a:cxn ang="0">
                <a:pos x="245" y="516"/>
              </a:cxn>
            </a:cxnLst>
            <a:rect l="0" t="0" r="r" b="b"/>
            <a:pathLst>
              <a:path w="564" h="564">
                <a:moveTo>
                  <a:pt x="245" y="516"/>
                </a:moveTo>
                <a:cubicBezTo>
                  <a:pt x="245" y="516"/>
                  <a:pt x="245" y="516"/>
                  <a:pt x="245" y="516"/>
                </a:cubicBezTo>
                <a:cubicBezTo>
                  <a:pt x="239" y="508"/>
                  <a:pt x="235" y="498"/>
                  <a:pt x="235" y="487"/>
                </a:cubicBezTo>
                <a:cubicBezTo>
                  <a:pt x="235" y="461"/>
                  <a:pt x="257" y="439"/>
                  <a:pt x="283" y="439"/>
                </a:cubicBezTo>
                <a:cubicBezTo>
                  <a:pt x="309" y="439"/>
                  <a:pt x="330" y="461"/>
                  <a:pt x="330" y="487"/>
                </a:cubicBezTo>
                <a:cubicBezTo>
                  <a:pt x="330" y="498"/>
                  <a:pt x="327" y="508"/>
                  <a:pt x="320" y="516"/>
                </a:cubicBezTo>
                <a:cubicBezTo>
                  <a:pt x="320" y="516"/>
                  <a:pt x="320" y="516"/>
                  <a:pt x="320" y="516"/>
                </a:cubicBezTo>
                <a:cubicBezTo>
                  <a:pt x="302" y="538"/>
                  <a:pt x="337" y="564"/>
                  <a:pt x="353" y="564"/>
                </a:cubicBezTo>
                <a:cubicBezTo>
                  <a:pt x="564" y="564"/>
                  <a:pt x="564" y="564"/>
                  <a:pt x="564" y="564"/>
                </a:cubicBezTo>
                <a:cubicBezTo>
                  <a:pt x="564" y="354"/>
                  <a:pt x="564" y="354"/>
                  <a:pt x="564" y="354"/>
                </a:cubicBezTo>
                <a:cubicBezTo>
                  <a:pt x="564" y="339"/>
                  <a:pt x="539" y="303"/>
                  <a:pt x="517" y="322"/>
                </a:cubicBezTo>
                <a:cubicBezTo>
                  <a:pt x="517" y="322"/>
                  <a:pt x="517" y="322"/>
                  <a:pt x="517" y="322"/>
                </a:cubicBezTo>
                <a:cubicBezTo>
                  <a:pt x="509" y="328"/>
                  <a:pt x="499" y="332"/>
                  <a:pt x="488" y="332"/>
                </a:cubicBezTo>
                <a:cubicBezTo>
                  <a:pt x="461" y="332"/>
                  <a:pt x="440" y="310"/>
                  <a:pt x="440" y="284"/>
                </a:cubicBezTo>
                <a:cubicBezTo>
                  <a:pt x="440" y="258"/>
                  <a:pt x="461" y="237"/>
                  <a:pt x="488" y="237"/>
                </a:cubicBezTo>
                <a:cubicBezTo>
                  <a:pt x="499" y="237"/>
                  <a:pt x="509" y="241"/>
                  <a:pt x="517" y="247"/>
                </a:cubicBezTo>
                <a:cubicBezTo>
                  <a:pt x="517" y="247"/>
                  <a:pt x="517" y="247"/>
                  <a:pt x="517" y="247"/>
                </a:cubicBezTo>
                <a:cubicBezTo>
                  <a:pt x="539" y="265"/>
                  <a:pt x="564" y="230"/>
                  <a:pt x="564" y="214"/>
                </a:cubicBezTo>
                <a:cubicBezTo>
                  <a:pt x="564" y="0"/>
                  <a:pt x="564" y="0"/>
                  <a:pt x="564" y="0"/>
                </a:cubicBezTo>
                <a:cubicBezTo>
                  <a:pt x="564" y="0"/>
                  <a:pt x="564" y="0"/>
                  <a:pt x="56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564"/>
                  <a:pt x="0" y="564"/>
                  <a:pt x="0" y="564"/>
                </a:cubicBezTo>
                <a:cubicBezTo>
                  <a:pt x="213" y="564"/>
                  <a:pt x="213" y="564"/>
                  <a:pt x="213" y="564"/>
                </a:cubicBezTo>
                <a:cubicBezTo>
                  <a:pt x="229" y="564"/>
                  <a:pt x="264" y="538"/>
                  <a:pt x="245" y="516"/>
                </a:cubicBezTo>
                <a:close/>
              </a:path>
            </a:pathLst>
          </a:custGeom>
          <a:solidFill>
            <a:srgbClr val="6EFF01">
              <a:alpha val="60000"/>
            </a:srgb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7" name="Freeform 6"/>
          <p:cNvSpPr>
            <a:spLocks/>
          </p:cNvSpPr>
          <p:nvPr/>
        </p:nvSpPr>
        <p:spPr bwMode="auto">
          <a:xfrm flipV="1">
            <a:off x="3072431" y="2774171"/>
            <a:ext cx="1619005" cy="1808530"/>
          </a:xfrm>
          <a:custGeom>
            <a:avLst/>
            <a:gdLst/>
            <a:ahLst/>
            <a:cxnLst>
              <a:cxn ang="0">
                <a:pos x="488" y="362"/>
              </a:cxn>
              <a:cxn ang="0">
                <a:pos x="517" y="372"/>
              </a:cxn>
              <a:cxn ang="0">
                <a:pos x="517" y="372"/>
              </a:cxn>
              <a:cxn ang="0">
                <a:pos x="564" y="339"/>
              </a:cxn>
              <a:cxn ang="0">
                <a:pos x="564" y="125"/>
              </a:cxn>
              <a:cxn ang="0">
                <a:pos x="353" y="125"/>
              </a:cxn>
              <a:cxn ang="0">
                <a:pos x="320" y="77"/>
              </a:cxn>
              <a:cxn ang="0">
                <a:pos x="320" y="77"/>
              </a:cxn>
              <a:cxn ang="0">
                <a:pos x="330" y="48"/>
              </a:cxn>
              <a:cxn ang="0">
                <a:pos x="283" y="0"/>
              </a:cxn>
              <a:cxn ang="0">
                <a:pos x="235" y="48"/>
              </a:cxn>
              <a:cxn ang="0">
                <a:pos x="245" y="77"/>
              </a:cxn>
              <a:cxn ang="0">
                <a:pos x="245" y="77"/>
              </a:cxn>
              <a:cxn ang="0">
                <a:pos x="213" y="125"/>
              </a:cxn>
              <a:cxn ang="0">
                <a:pos x="0" y="125"/>
              </a:cxn>
              <a:cxn ang="0">
                <a:pos x="0" y="689"/>
              </a:cxn>
              <a:cxn ang="0">
                <a:pos x="213" y="689"/>
              </a:cxn>
              <a:cxn ang="0">
                <a:pos x="245" y="736"/>
              </a:cxn>
              <a:cxn ang="0">
                <a:pos x="245" y="736"/>
              </a:cxn>
              <a:cxn ang="0">
                <a:pos x="235" y="765"/>
              </a:cxn>
              <a:cxn ang="0">
                <a:pos x="283" y="813"/>
              </a:cxn>
              <a:cxn ang="0">
                <a:pos x="330" y="765"/>
              </a:cxn>
              <a:cxn ang="0">
                <a:pos x="320" y="736"/>
              </a:cxn>
              <a:cxn ang="0">
                <a:pos x="320" y="736"/>
              </a:cxn>
              <a:cxn ang="0">
                <a:pos x="353" y="689"/>
              </a:cxn>
              <a:cxn ang="0">
                <a:pos x="564" y="689"/>
              </a:cxn>
              <a:cxn ang="0">
                <a:pos x="564" y="479"/>
              </a:cxn>
              <a:cxn ang="0">
                <a:pos x="517" y="447"/>
              </a:cxn>
              <a:cxn ang="0">
                <a:pos x="517" y="447"/>
              </a:cxn>
              <a:cxn ang="0">
                <a:pos x="488" y="457"/>
              </a:cxn>
              <a:cxn ang="0">
                <a:pos x="440" y="409"/>
              </a:cxn>
              <a:cxn ang="0">
                <a:pos x="488" y="362"/>
              </a:cxn>
            </a:cxnLst>
            <a:rect l="0" t="0" r="r" b="b"/>
            <a:pathLst>
              <a:path w="564" h="813">
                <a:moveTo>
                  <a:pt x="488" y="362"/>
                </a:moveTo>
                <a:cubicBezTo>
                  <a:pt x="499" y="362"/>
                  <a:pt x="509" y="366"/>
                  <a:pt x="517" y="372"/>
                </a:cubicBezTo>
                <a:cubicBezTo>
                  <a:pt x="517" y="372"/>
                  <a:pt x="517" y="372"/>
                  <a:pt x="517" y="372"/>
                </a:cubicBezTo>
                <a:cubicBezTo>
                  <a:pt x="539" y="390"/>
                  <a:pt x="564" y="355"/>
                  <a:pt x="564" y="339"/>
                </a:cubicBezTo>
                <a:cubicBezTo>
                  <a:pt x="564" y="125"/>
                  <a:pt x="564" y="125"/>
                  <a:pt x="564" y="125"/>
                </a:cubicBezTo>
                <a:cubicBezTo>
                  <a:pt x="353" y="125"/>
                  <a:pt x="353" y="125"/>
                  <a:pt x="353" y="125"/>
                </a:cubicBezTo>
                <a:cubicBezTo>
                  <a:pt x="337" y="125"/>
                  <a:pt x="302" y="99"/>
                  <a:pt x="320" y="77"/>
                </a:cubicBezTo>
                <a:cubicBezTo>
                  <a:pt x="320" y="77"/>
                  <a:pt x="320" y="77"/>
                  <a:pt x="320" y="77"/>
                </a:cubicBezTo>
                <a:cubicBezTo>
                  <a:pt x="327" y="69"/>
                  <a:pt x="330" y="59"/>
                  <a:pt x="330" y="48"/>
                </a:cubicBezTo>
                <a:cubicBezTo>
                  <a:pt x="330" y="22"/>
                  <a:pt x="309" y="0"/>
                  <a:pt x="283" y="0"/>
                </a:cubicBezTo>
                <a:cubicBezTo>
                  <a:pt x="257" y="0"/>
                  <a:pt x="235" y="22"/>
                  <a:pt x="235" y="48"/>
                </a:cubicBezTo>
                <a:cubicBezTo>
                  <a:pt x="235" y="59"/>
                  <a:pt x="239" y="69"/>
                  <a:pt x="245" y="77"/>
                </a:cubicBezTo>
                <a:cubicBezTo>
                  <a:pt x="245" y="77"/>
                  <a:pt x="245" y="77"/>
                  <a:pt x="245" y="77"/>
                </a:cubicBezTo>
                <a:cubicBezTo>
                  <a:pt x="264" y="99"/>
                  <a:pt x="229" y="125"/>
                  <a:pt x="213" y="125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689"/>
                  <a:pt x="0" y="689"/>
                  <a:pt x="0" y="689"/>
                </a:cubicBezTo>
                <a:cubicBezTo>
                  <a:pt x="213" y="689"/>
                  <a:pt x="213" y="689"/>
                  <a:pt x="213" y="689"/>
                </a:cubicBezTo>
                <a:cubicBezTo>
                  <a:pt x="229" y="689"/>
                  <a:pt x="264" y="714"/>
                  <a:pt x="245" y="736"/>
                </a:cubicBezTo>
                <a:cubicBezTo>
                  <a:pt x="245" y="736"/>
                  <a:pt x="245" y="736"/>
                  <a:pt x="245" y="736"/>
                </a:cubicBezTo>
                <a:cubicBezTo>
                  <a:pt x="239" y="744"/>
                  <a:pt x="235" y="754"/>
                  <a:pt x="235" y="765"/>
                </a:cubicBezTo>
                <a:cubicBezTo>
                  <a:pt x="235" y="792"/>
                  <a:pt x="257" y="813"/>
                  <a:pt x="283" y="813"/>
                </a:cubicBezTo>
                <a:cubicBezTo>
                  <a:pt x="309" y="813"/>
                  <a:pt x="330" y="792"/>
                  <a:pt x="330" y="765"/>
                </a:cubicBezTo>
                <a:cubicBezTo>
                  <a:pt x="330" y="754"/>
                  <a:pt x="327" y="744"/>
                  <a:pt x="320" y="736"/>
                </a:cubicBezTo>
                <a:cubicBezTo>
                  <a:pt x="320" y="736"/>
                  <a:pt x="320" y="736"/>
                  <a:pt x="320" y="736"/>
                </a:cubicBezTo>
                <a:cubicBezTo>
                  <a:pt x="302" y="714"/>
                  <a:pt x="337" y="689"/>
                  <a:pt x="353" y="689"/>
                </a:cubicBezTo>
                <a:cubicBezTo>
                  <a:pt x="564" y="689"/>
                  <a:pt x="564" y="689"/>
                  <a:pt x="564" y="689"/>
                </a:cubicBezTo>
                <a:cubicBezTo>
                  <a:pt x="564" y="479"/>
                  <a:pt x="564" y="479"/>
                  <a:pt x="564" y="479"/>
                </a:cubicBezTo>
                <a:cubicBezTo>
                  <a:pt x="564" y="464"/>
                  <a:pt x="539" y="428"/>
                  <a:pt x="517" y="447"/>
                </a:cubicBezTo>
                <a:cubicBezTo>
                  <a:pt x="517" y="447"/>
                  <a:pt x="517" y="447"/>
                  <a:pt x="517" y="447"/>
                </a:cubicBezTo>
                <a:cubicBezTo>
                  <a:pt x="509" y="453"/>
                  <a:pt x="499" y="457"/>
                  <a:pt x="488" y="457"/>
                </a:cubicBezTo>
                <a:cubicBezTo>
                  <a:pt x="461" y="457"/>
                  <a:pt x="440" y="435"/>
                  <a:pt x="440" y="409"/>
                </a:cubicBezTo>
                <a:cubicBezTo>
                  <a:pt x="440" y="383"/>
                  <a:pt x="461" y="362"/>
                  <a:pt x="488" y="362"/>
                </a:cubicBezTo>
                <a:close/>
              </a:path>
            </a:pathLst>
          </a:custGeom>
          <a:solidFill>
            <a:srgbClr val="2DD7FF">
              <a:alpha val="60000"/>
            </a:srgb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8" name="Freeform 10"/>
          <p:cNvSpPr>
            <a:spLocks/>
          </p:cNvSpPr>
          <p:nvPr/>
        </p:nvSpPr>
        <p:spPr bwMode="auto">
          <a:xfrm flipV="1">
            <a:off x="4336189" y="4303780"/>
            <a:ext cx="2335331" cy="1255140"/>
          </a:xfrm>
          <a:custGeom>
            <a:avLst/>
            <a:gdLst/>
            <a:ahLst/>
            <a:cxnLst>
              <a:cxn ang="0">
                <a:pos x="765" y="237"/>
              </a:cxn>
              <a:cxn ang="0">
                <a:pos x="736" y="247"/>
              </a:cxn>
              <a:cxn ang="0">
                <a:pos x="736" y="247"/>
              </a:cxn>
              <a:cxn ang="0">
                <a:pos x="688" y="214"/>
              </a:cxn>
              <a:cxn ang="0">
                <a:pos x="688" y="0"/>
              </a:cxn>
              <a:cxn ang="0">
                <a:pos x="124" y="0"/>
              </a:cxn>
              <a:cxn ang="0">
                <a:pos x="124" y="214"/>
              </a:cxn>
              <a:cxn ang="0">
                <a:pos x="77" y="247"/>
              </a:cxn>
              <a:cxn ang="0">
                <a:pos x="77" y="247"/>
              </a:cxn>
              <a:cxn ang="0">
                <a:pos x="48" y="237"/>
              </a:cxn>
              <a:cxn ang="0">
                <a:pos x="0" y="284"/>
              </a:cxn>
              <a:cxn ang="0">
                <a:pos x="48" y="332"/>
              </a:cxn>
              <a:cxn ang="0">
                <a:pos x="77" y="322"/>
              </a:cxn>
              <a:cxn ang="0">
                <a:pos x="77" y="322"/>
              </a:cxn>
              <a:cxn ang="0">
                <a:pos x="124" y="354"/>
              </a:cxn>
              <a:cxn ang="0">
                <a:pos x="124" y="564"/>
              </a:cxn>
              <a:cxn ang="0">
                <a:pos x="336" y="564"/>
              </a:cxn>
              <a:cxn ang="0">
                <a:pos x="369" y="516"/>
              </a:cxn>
              <a:cxn ang="0">
                <a:pos x="369" y="516"/>
              </a:cxn>
              <a:cxn ang="0">
                <a:pos x="359" y="487"/>
              </a:cxn>
              <a:cxn ang="0">
                <a:pos x="406" y="439"/>
              </a:cxn>
              <a:cxn ang="0">
                <a:pos x="454" y="487"/>
              </a:cxn>
              <a:cxn ang="0">
                <a:pos x="444" y="516"/>
              </a:cxn>
              <a:cxn ang="0">
                <a:pos x="444" y="516"/>
              </a:cxn>
              <a:cxn ang="0">
                <a:pos x="477" y="564"/>
              </a:cxn>
              <a:cxn ang="0">
                <a:pos x="688" y="564"/>
              </a:cxn>
              <a:cxn ang="0">
                <a:pos x="688" y="354"/>
              </a:cxn>
              <a:cxn ang="0">
                <a:pos x="736" y="322"/>
              </a:cxn>
              <a:cxn ang="0">
                <a:pos x="736" y="322"/>
              </a:cxn>
              <a:cxn ang="0">
                <a:pos x="765" y="332"/>
              </a:cxn>
              <a:cxn ang="0">
                <a:pos x="813" y="284"/>
              </a:cxn>
              <a:cxn ang="0">
                <a:pos x="765" y="237"/>
              </a:cxn>
            </a:cxnLst>
            <a:rect l="0" t="0" r="r" b="b"/>
            <a:pathLst>
              <a:path w="813" h="564">
                <a:moveTo>
                  <a:pt x="765" y="237"/>
                </a:moveTo>
                <a:cubicBezTo>
                  <a:pt x="754" y="237"/>
                  <a:pt x="744" y="241"/>
                  <a:pt x="736" y="247"/>
                </a:cubicBezTo>
                <a:cubicBezTo>
                  <a:pt x="736" y="247"/>
                  <a:pt x="736" y="247"/>
                  <a:pt x="736" y="247"/>
                </a:cubicBezTo>
                <a:cubicBezTo>
                  <a:pt x="714" y="265"/>
                  <a:pt x="688" y="230"/>
                  <a:pt x="688" y="214"/>
                </a:cubicBezTo>
                <a:cubicBezTo>
                  <a:pt x="688" y="0"/>
                  <a:pt x="688" y="0"/>
                  <a:pt x="688" y="0"/>
                </a:cubicBezTo>
                <a:cubicBezTo>
                  <a:pt x="124" y="0"/>
                  <a:pt x="124" y="0"/>
                  <a:pt x="124" y="0"/>
                </a:cubicBezTo>
                <a:cubicBezTo>
                  <a:pt x="124" y="214"/>
                  <a:pt x="124" y="214"/>
                  <a:pt x="124" y="214"/>
                </a:cubicBezTo>
                <a:cubicBezTo>
                  <a:pt x="124" y="230"/>
                  <a:pt x="99" y="265"/>
                  <a:pt x="77" y="247"/>
                </a:cubicBezTo>
                <a:cubicBezTo>
                  <a:pt x="77" y="247"/>
                  <a:pt x="77" y="247"/>
                  <a:pt x="77" y="247"/>
                </a:cubicBezTo>
                <a:cubicBezTo>
                  <a:pt x="69" y="241"/>
                  <a:pt x="59" y="237"/>
                  <a:pt x="48" y="237"/>
                </a:cubicBezTo>
                <a:cubicBezTo>
                  <a:pt x="21" y="237"/>
                  <a:pt x="0" y="258"/>
                  <a:pt x="0" y="284"/>
                </a:cubicBezTo>
                <a:cubicBezTo>
                  <a:pt x="0" y="310"/>
                  <a:pt x="21" y="332"/>
                  <a:pt x="48" y="332"/>
                </a:cubicBezTo>
                <a:cubicBezTo>
                  <a:pt x="59" y="332"/>
                  <a:pt x="69" y="328"/>
                  <a:pt x="77" y="322"/>
                </a:cubicBezTo>
                <a:cubicBezTo>
                  <a:pt x="77" y="322"/>
                  <a:pt x="77" y="322"/>
                  <a:pt x="77" y="322"/>
                </a:cubicBezTo>
                <a:cubicBezTo>
                  <a:pt x="99" y="303"/>
                  <a:pt x="124" y="339"/>
                  <a:pt x="124" y="354"/>
                </a:cubicBezTo>
                <a:cubicBezTo>
                  <a:pt x="124" y="564"/>
                  <a:pt x="124" y="564"/>
                  <a:pt x="124" y="564"/>
                </a:cubicBezTo>
                <a:cubicBezTo>
                  <a:pt x="336" y="564"/>
                  <a:pt x="336" y="564"/>
                  <a:pt x="336" y="564"/>
                </a:cubicBezTo>
                <a:cubicBezTo>
                  <a:pt x="352" y="564"/>
                  <a:pt x="387" y="538"/>
                  <a:pt x="369" y="516"/>
                </a:cubicBezTo>
                <a:cubicBezTo>
                  <a:pt x="369" y="516"/>
                  <a:pt x="369" y="516"/>
                  <a:pt x="369" y="516"/>
                </a:cubicBezTo>
                <a:cubicBezTo>
                  <a:pt x="363" y="508"/>
                  <a:pt x="359" y="498"/>
                  <a:pt x="359" y="487"/>
                </a:cubicBezTo>
                <a:cubicBezTo>
                  <a:pt x="359" y="461"/>
                  <a:pt x="380" y="439"/>
                  <a:pt x="406" y="439"/>
                </a:cubicBezTo>
                <a:cubicBezTo>
                  <a:pt x="433" y="439"/>
                  <a:pt x="454" y="461"/>
                  <a:pt x="454" y="487"/>
                </a:cubicBezTo>
                <a:cubicBezTo>
                  <a:pt x="454" y="498"/>
                  <a:pt x="450" y="508"/>
                  <a:pt x="444" y="516"/>
                </a:cubicBezTo>
                <a:cubicBezTo>
                  <a:pt x="444" y="516"/>
                  <a:pt x="444" y="516"/>
                  <a:pt x="444" y="516"/>
                </a:cubicBezTo>
                <a:cubicBezTo>
                  <a:pt x="425" y="538"/>
                  <a:pt x="461" y="564"/>
                  <a:pt x="477" y="564"/>
                </a:cubicBezTo>
                <a:cubicBezTo>
                  <a:pt x="688" y="564"/>
                  <a:pt x="688" y="564"/>
                  <a:pt x="688" y="564"/>
                </a:cubicBezTo>
                <a:cubicBezTo>
                  <a:pt x="688" y="354"/>
                  <a:pt x="688" y="354"/>
                  <a:pt x="688" y="354"/>
                </a:cubicBezTo>
                <a:cubicBezTo>
                  <a:pt x="688" y="339"/>
                  <a:pt x="714" y="303"/>
                  <a:pt x="736" y="322"/>
                </a:cubicBezTo>
                <a:cubicBezTo>
                  <a:pt x="736" y="322"/>
                  <a:pt x="736" y="322"/>
                  <a:pt x="736" y="322"/>
                </a:cubicBezTo>
                <a:cubicBezTo>
                  <a:pt x="744" y="328"/>
                  <a:pt x="754" y="332"/>
                  <a:pt x="765" y="332"/>
                </a:cubicBezTo>
                <a:cubicBezTo>
                  <a:pt x="791" y="332"/>
                  <a:pt x="813" y="310"/>
                  <a:pt x="813" y="284"/>
                </a:cubicBezTo>
                <a:cubicBezTo>
                  <a:pt x="813" y="258"/>
                  <a:pt x="791" y="237"/>
                  <a:pt x="765" y="237"/>
                </a:cubicBezTo>
                <a:close/>
              </a:path>
            </a:pathLst>
          </a:custGeom>
          <a:gradFill flip="none" rotWithShape="1">
            <a:gsLst>
              <a:gs pos="0">
                <a:srgbClr val="6EFF01"/>
              </a:gs>
              <a:gs pos="90000">
                <a:srgbClr val="0F5000"/>
              </a:gs>
            </a:gsLst>
            <a:lin ang="189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prst="convex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9" name="Freeform 14"/>
          <p:cNvSpPr>
            <a:spLocks/>
          </p:cNvSpPr>
          <p:nvPr/>
        </p:nvSpPr>
        <p:spPr bwMode="auto">
          <a:xfrm flipV="1">
            <a:off x="4336189" y="2774171"/>
            <a:ext cx="2335331" cy="1808530"/>
          </a:xfrm>
          <a:custGeom>
            <a:avLst/>
            <a:gdLst/>
            <a:ahLst/>
            <a:cxnLst>
              <a:cxn ang="0">
                <a:pos x="765" y="362"/>
              </a:cxn>
              <a:cxn ang="0">
                <a:pos x="736" y="372"/>
              </a:cxn>
              <a:cxn ang="0">
                <a:pos x="736" y="372"/>
              </a:cxn>
              <a:cxn ang="0">
                <a:pos x="688" y="339"/>
              </a:cxn>
              <a:cxn ang="0">
                <a:pos x="688" y="125"/>
              </a:cxn>
              <a:cxn ang="0">
                <a:pos x="477" y="125"/>
              </a:cxn>
              <a:cxn ang="0">
                <a:pos x="444" y="77"/>
              </a:cxn>
              <a:cxn ang="0">
                <a:pos x="444" y="77"/>
              </a:cxn>
              <a:cxn ang="0">
                <a:pos x="454" y="48"/>
              </a:cxn>
              <a:cxn ang="0">
                <a:pos x="406" y="0"/>
              </a:cxn>
              <a:cxn ang="0">
                <a:pos x="359" y="48"/>
              </a:cxn>
              <a:cxn ang="0">
                <a:pos x="369" y="77"/>
              </a:cxn>
              <a:cxn ang="0">
                <a:pos x="369" y="77"/>
              </a:cxn>
              <a:cxn ang="0">
                <a:pos x="336" y="125"/>
              </a:cxn>
              <a:cxn ang="0">
                <a:pos x="124" y="125"/>
              </a:cxn>
              <a:cxn ang="0">
                <a:pos x="124" y="339"/>
              </a:cxn>
              <a:cxn ang="0">
                <a:pos x="77" y="372"/>
              </a:cxn>
              <a:cxn ang="0">
                <a:pos x="77" y="372"/>
              </a:cxn>
              <a:cxn ang="0">
                <a:pos x="48" y="362"/>
              </a:cxn>
              <a:cxn ang="0">
                <a:pos x="0" y="409"/>
              </a:cxn>
              <a:cxn ang="0">
                <a:pos x="48" y="457"/>
              </a:cxn>
              <a:cxn ang="0">
                <a:pos x="77" y="447"/>
              </a:cxn>
              <a:cxn ang="0">
                <a:pos x="77" y="447"/>
              </a:cxn>
              <a:cxn ang="0">
                <a:pos x="124" y="479"/>
              </a:cxn>
              <a:cxn ang="0">
                <a:pos x="124" y="689"/>
              </a:cxn>
              <a:cxn ang="0">
                <a:pos x="336" y="689"/>
              </a:cxn>
              <a:cxn ang="0">
                <a:pos x="369" y="736"/>
              </a:cxn>
              <a:cxn ang="0">
                <a:pos x="369" y="736"/>
              </a:cxn>
              <a:cxn ang="0">
                <a:pos x="359" y="765"/>
              </a:cxn>
              <a:cxn ang="0">
                <a:pos x="406" y="813"/>
              </a:cxn>
              <a:cxn ang="0">
                <a:pos x="454" y="765"/>
              </a:cxn>
              <a:cxn ang="0">
                <a:pos x="444" y="736"/>
              </a:cxn>
              <a:cxn ang="0">
                <a:pos x="444" y="736"/>
              </a:cxn>
              <a:cxn ang="0">
                <a:pos x="477" y="689"/>
              </a:cxn>
              <a:cxn ang="0">
                <a:pos x="688" y="689"/>
              </a:cxn>
              <a:cxn ang="0">
                <a:pos x="688" y="479"/>
              </a:cxn>
              <a:cxn ang="0">
                <a:pos x="736" y="447"/>
              </a:cxn>
              <a:cxn ang="0">
                <a:pos x="736" y="447"/>
              </a:cxn>
              <a:cxn ang="0">
                <a:pos x="765" y="457"/>
              </a:cxn>
              <a:cxn ang="0">
                <a:pos x="813" y="409"/>
              </a:cxn>
              <a:cxn ang="0">
                <a:pos x="765" y="362"/>
              </a:cxn>
            </a:cxnLst>
            <a:rect l="0" t="0" r="r" b="b"/>
            <a:pathLst>
              <a:path w="813" h="813">
                <a:moveTo>
                  <a:pt x="765" y="362"/>
                </a:moveTo>
                <a:cubicBezTo>
                  <a:pt x="754" y="362"/>
                  <a:pt x="744" y="366"/>
                  <a:pt x="736" y="372"/>
                </a:cubicBezTo>
                <a:cubicBezTo>
                  <a:pt x="736" y="372"/>
                  <a:pt x="736" y="372"/>
                  <a:pt x="736" y="372"/>
                </a:cubicBezTo>
                <a:cubicBezTo>
                  <a:pt x="714" y="390"/>
                  <a:pt x="688" y="355"/>
                  <a:pt x="688" y="339"/>
                </a:cubicBezTo>
                <a:cubicBezTo>
                  <a:pt x="688" y="125"/>
                  <a:pt x="688" y="125"/>
                  <a:pt x="688" y="125"/>
                </a:cubicBezTo>
                <a:cubicBezTo>
                  <a:pt x="477" y="125"/>
                  <a:pt x="477" y="125"/>
                  <a:pt x="477" y="125"/>
                </a:cubicBezTo>
                <a:cubicBezTo>
                  <a:pt x="461" y="125"/>
                  <a:pt x="425" y="99"/>
                  <a:pt x="444" y="77"/>
                </a:cubicBezTo>
                <a:cubicBezTo>
                  <a:pt x="444" y="77"/>
                  <a:pt x="444" y="77"/>
                  <a:pt x="444" y="77"/>
                </a:cubicBezTo>
                <a:cubicBezTo>
                  <a:pt x="450" y="69"/>
                  <a:pt x="454" y="59"/>
                  <a:pt x="454" y="48"/>
                </a:cubicBezTo>
                <a:cubicBezTo>
                  <a:pt x="454" y="22"/>
                  <a:pt x="433" y="0"/>
                  <a:pt x="406" y="0"/>
                </a:cubicBezTo>
                <a:cubicBezTo>
                  <a:pt x="380" y="0"/>
                  <a:pt x="359" y="22"/>
                  <a:pt x="359" y="48"/>
                </a:cubicBezTo>
                <a:cubicBezTo>
                  <a:pt x="359" y="59"/>
                  <a:pt x="363" y="69"/>
                  <a:pt x="369" y="77"/>
                </a:cubicBezTo>
                <a:cubicBezTo>
                  <a:pt x="369" y="77"/>
                  <a:pt x="369" y="77"/>
                  <a:pt x="369" y="77"/>
                </a:cubicBezTo>
                <a:cubicBezTo>
                  <a:pt x="387" y="99"/>
                  <a:pt x="352" y="125"/>
                  <a:pt x="336" y="125"/>
                </a:cubicBezTo>
                <a:cubicBezTo>
                  <a:pt x="124" y="125"/>
                  <a:pt x="124" y="125"/>
                  <a:pt x="124" y="125"/>
                </a:cubicBezTo>
                <a:cubicBezTo>
                  <a:pt x="124" y="339"/>
                  <a:pt x="124" y="339"/>
                  <a:pt x="124" y="339"/>
                </a:cubicBezTo>
                <a:cubicBezTo>
                  <a:pt x="124" y="355"/>
                  <a:pt x="99" y="390"/>
                  <a:pt x="77" y="372"/>
                </a:cubicBezTo>
                <a:cubicBezTo>
                  <a:pt x="77" y="372"/>
                  <a:pt x="77" y="372"/>
                  <a:pt x="77" y="372"/>
                </a:cubicBezTo>
                <a:cubicBezTo>
                  <a:pt x="69" y="366"/>
                  <a:pt x="59" y="362"/>
                  <a:pt x="48" y="362"/>
                </a:cubicBezTo>
                <a:cubicBezTo>
                  <a:pt x="21" y="362"/>
                  <a:pt x="0" y="383"/>
                  <a:pt x="0" y="409"/>
                </a:cubicBezTo>
                <a:cubicBezTo>
                  <a:pt x="0" y="435"/>
                  <a:pt x="21" y="457"/>
                  <a:pt x="48" y="457"/>
                </a:cubicBezTo>
                <a:cubicBezTo>
                  <a:pt x="59" y="457"/>
                  <a:pt x="69" y="453"/>
                  <a:pt x="77" y="447"/>
                </a:cubicBezTo>
                <a:cubicBezTo>
                  <a:pt x="77" y="447"/>
                  <a:pt x="77" y="447"/>
                  <a:pt x="77" y="447"/>
                </a:cubicBezTo>
                <a:cubicBezTo>
                  <a:pt x="99" y="428"/>
                  <a:pt x="124" y="464"/>
                  <a:pt x="124" y="479"/>
                </a:cubicBezTo>
                <a:cubicBezTo>
                  <a:pt x="124" y="689"/>
                  <a:pt x="124" y="689"/>
                  <a:pt x="124" y="689"/>
                </a:cubicBezTo>
                <a:cubicBezTo>
                  <a:pt x="336" y="689"/>
                  <a:pt x="336" y="689"/>
                  <a:pt x="336" y="689"/>
                </a:cubicBezTo>
                <a:cubicBezTo>
                  <a:pt x="352" y="689"/>
                  <a:pt x="387" y="714"/>
                  <a:pt x="369" y="736"/>
                </a:cubicBezTo>
                <a:cubicBezTo>
                  <a:pt x="369" y="736"/>
                  <a:pt x="369" y="736"/>
                  <a:pt x="369" y="736"/>
                </a:cubicBezTo>
                <a:cubicBezTo>
                  <a:pt x="363" y="744"/>
                  <a:pt x="359" y="754"/>
                  <a:pt x="359" y="765"/>
                </a:cubicBezTo>
                <a:cubicBezTo>
                  <a:pt x="359" y="792"/>
                  <a:pt x="380" y="813"/>
                  <a:pt x="406" y="813"/>
                </a:cubicBezTo>
                <a:cubicBezTo>
                  <a:pt x="433" y="813"/>
                  <a:pt x="454" y="792"/>
                  <a:pt x="454" y="765"/>
                </a:cubicBezTo>
                <a:cubicBezTo>
                  <a:pt x="454" y="754"/>
                  <a:pt x="450" y="744"/>
                  <a:pt x="444" y="736"/>
                </a:cubicBezTo>
                <a:cubicBezTo>
                  <a:pt x="444" y="736"/>
                  <a:pt x="444" y="736"/>
                  <a:pt x="444" y="736"/>
                </a:cubicBezTo>
                <a:cubicBezTo>
                  <a:pt x="425" y="714"/>
                  <a:pt x="461" y="689"/>
                  <a:pt x="477" y="689"/>
                </a:cubicBezTo>
                <a:cubicBezTo>
                  <a:pt x="688" y="689"/>
                  <a:pt x="688" y="689"/>
                  <a:pt x="688" y="689"/>
                </a:cubicBezTo>
                <a:cubicBezTo>
                  <a:pt x="688" y="479"/>
                  <a:pt x="688" y="479"/>
                  <a:pt x="688" y="479"/>
                </a:cubicBezTo>
                <a:cubicBezTo>
                  <a:pt x="688" y="464"/>
                  <a:pt x="714" y="428"/>
                  <a:pt x="736" y="447"/>
                </a:cubicBezTo>
                <a:cubicBezTo>
                  <a:pt x="736" y="447"/>
                  <a:pt x="736" y="447"/>
                  <a:pt x="736" y="447"/>
                </a:cubicBezTo>
                <a:cubicBezTo>
                  <a:pt x="744" y="453"/>
                  <a:pt x="754" y="457"/>
                  <a:pt x="765" y="457"/>
                </a:cubicBezTo>
                <a:cubicBezTo>
                  <a:pt x="791" y="457"/>
                  <a:pt x="813" y="435"/>
                  <a:pt x="813" y="409"/>
                </a:cubicBezTo>
                <a:cubicBezTo>
                  <a:pt x="813" y="383"/>
                  <a:pt x="791" y="362"/>
                  <a:pt x="765" y="362"/>
                </a:cubicBezTo>
                <a:close/>
              </a:path>
            </a:pathLst>
          </a:cu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189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0" name="Freeform 3"/>
          <p:cNvSpPr>
            <a:spLocks/>
          </p:cNvSpPr>
          <p:nvPr/>
        </p:nvSpPr>
        <p:spPr bwMode="auto">
          <a:xfrm>
            <a:off x="6311483" y="1778920"/>
            <a:ext cx="1620948" cy="125514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14"/>
              </a:cxn>
              <a:cxn ang="0">
                <a:pos x="48" y="247"/>
              </a:cxn>
              <a:cxn ang="0">
                <a:pos x="48" y="247"/>
              </a:cxn>
              <a:cxn ang="0">
                <a:pos x="77" y="237"/>
              </a:cxn>
              <a:cxn ang="0">
                <a:pos x="125" y="284"/>
              </a:cxn>
              <a:cxn ang="0">
                <a:pos x="77" y="332"/>
              </a:cxn>
              <a:cxn ang="0">
                <a:pos x="48" y="322"/>
              </a:cxn>
              <a:cxn ang="0">
                <a:pos x="48" y="322"/>
              </a:cxn>
              <a:cxn ang="0">
                <a:pos x="0" y="354"/>
              </a:cxn>
              <a:cxn ang="0">
                <a:pos x="0" y="564"/>
              </a:cxn>
              <a:cxn ang="0">
                <a:pos x="212" y="564"/>
              </a:cxn>
              <a:cxn ang="0">
                <a:pos x="245" y="516"/>
              </a:cxn>
              <a:cxn ang="0">
                <a:pos x="245" y="516"/>
              </a:cxn>
              <a:cxn ang="0">
                <a:pos x="235" y="487"/>
              </a:cxn>
              <a:cxn ang="0">
                <a:pos x="283" y="439"/>
              </a:cxn>
              <a:cxn ang="0">
                <a:pos x="330" y="487"/>
              </a:cxn>
              <a:cxn ang="0">
                <a:pos x="320" y="516"/>
              </a:cxn>
              <a:cxn ang="0">
                <a:pos x="320" y="516"/>
              </a:cxn>
              <a:cxn ang="0">
                <a:pos x="353" y="564"/>
              </a:cxn>
              <a:cxn ang="0">
                <a:pos x="564" y="564"/>
              </a:cxn>
              <a:cxn ang="0">
                <a:pos x="564" y="0"/>
              </a:cxn>
              <a:cxn ang="0">
                <a:pos x="0" y="0"/>
              </a:cxn>
            </a:cxnLst>
            <a:rect l="0" t="0" r="r" b="b"/>
            <a:pathLst>
              <a:path w="564" h="564">
                <a:moveTo>
                  <a:pt x="0" y="0"/>
                </a:moveTo>
                <a:cubicBezTo>
                  <a:pt x="0" y="214"/>
                  <a:pt x="0" y="214"/>
                  <a:pt x="0" y="214"/>
                </a:cubicBezTo>
                <a:cubicBezTo>
                  <a:pt x="0" y="230"/>
                  <a:pt x="26" y="265"/>
                  <a:pt x="48" y="247"/>
                </a:cubicBezTo>
                <a:cubicBezTo>
                  <a:pt x="48" y="247"/>
                  <a:pt x="48" y="247"/>
                  <a:pt x="48" y="247"/>
                </a:cubicBezTo>
                <a:cubicBezTo>
                  <a:pt x="56" y="241"/>
                  <a:pt x="66" y="237"/>
                  <a:pt x="77" y="237"/>
                </a:cubicBezTo>
                <a:cubicBezTo>
                  <a:pt x="103" y="237"/>
                  <a:pt x="125" y="258"/>
                  <a:pt x="125" y="284"/>
                </a:cubicBezTo>
                <a:cubicBezTo>
                  <a:pt x="125" y="310"/>
                  <a:pt x="103" y="332"/>
                  <a:pt x="77" y="332"/>
                </a:cubicBezTo>
                <a:cubicBezTo>
                  <a:pt x="66" y="332"/>
                  <a:pt x="56" y="328"/>
                  <a:pt x="48" y="322"/>
                </a:cubicBezTo>
                <a:cubicBezTo>
                  <a:pt x="48" y="322"/>
                  <a:pt x="48" y="322"/>
                  <a:pt x="48" y="322"/>
                </a:cubicBezTo>
                <a:cubicBezTo>
                  <a:pt x="26" y="303"/>
                  <a:pt x="0" y="339"/>
                  <a:pt x="0" y="354"/>
                </a:cubicBezTo>
                <a:cubicBezTo>
                  <a:pt x="0" y="564"/>
                  <a:pt x="0" y="564"/>
                  <a:pt x="0" y="564"/>
                </a:cubicBezTo>
                <a:cubicBezTo>
                  <a:pt x="212" y="564"/>
                  <a:pt x="212" y="564"/>
                  <a:pt x="212" y="564"/>
                </a:cubicBezTo>
                <a:cubicBezTo>
                  <a:pt x="228" y="564"/>
                  <a:pt x="263" y="538"/>
                  <a:pt x="245" y="516"/>
                </a:cubicBezTo>
                <a:cubicBezTo>
                  <a:pt x="245" y="516"/>
                  <a:pt x="245" y="516"/>
                  <a:pt x="245" y="516"/>
                </a:cubicBezTo>
                <a:cubicBezTo>
                  <a:pt x="239" y="508"/>
                  <a:pt x="235" y="498"/>
                  <a:pt x="235" y="487"/>
                </a:cubicBezTo>
                <a:cubicBezTo>
                  <a:pt x="235" y="461"/>
                  <a:pt x="256" y="439"/>
                  <a:pt x="283" y="439"/>
                </a:cubicBezTo>
                <a:cubicBezTo>
                  <a:pt x="309" y="439"/>
                  <a:pt x="330" y="461"/>
                  <a:pt x="330" y="487"/>
                </a:cubicBezTo>
                <a:cubicBezTo>
                  <a:pt x="330" y="498"/>
                  <a:pt x="326" y="508"/>
                  <a:pt x="320" y="516"/>
                </a:cubicBezTo>
                <a:cubicBezTo>
                  <a:pt x="320" y="516"/>
                  <a:pt x="320" y="516"/>
                  <a:pt x="320" y="516"/>
                </a:cubicBezTo>
                <a:cubicBezTo>
                  <a:pt x="302" y="538"/>
                  <a:pt x="337" y="564"/>
                  <a:pt x="353" y="564"/>
                </a:cubicBezTo>
                <a:cubicBezTo>
                  <a:pt x="564" y="564"/>
                  <a:pt x="564" y="564"/>
                  <a:pt x="564" y="564"/>
                </a:cubicBezTo>
                <a:cubicBezTo>
                  <a:pt x="564" y="0"/>
                  <a:pt x="564" y="0"/>
                  <a:pt x="56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CF01">
              <a:alpha val="60000"/>
            </a:srgb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>
              <a:rot lat="0" lon="0" rev="0"/>
            </a:lightRig>
          </a:scene3d>
          <a:sp3d extrusionH="304800" contourW="19050">
            <a:bevelT w="101600" prst="convex"/>
            <a:bevelB w="0" h="635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1" name="Freeform 2"/>
          <p:cNvSpPr>
            <a:spLocks/>
          </p:cNvSpPr>
          <p:nvPr/>
        </p:nvSpPr>
        <p:spPr bwMode="auto">
          <a:xfrm>
            <a:off x="3072431" y="1778920"/>
            <a:ext cx="1619005" cy="1255140"/>
          </a:xfrm>
          <a:custGeom>
            <a:avLst/>
            <a:gdLst/>
            <a:ahLst/>
            <a:cxnLst>
              <a:cxn ang="0">
                <a:pos x="245" y="516"/>
              </a:cxn>
              <a:cxn ang="0">
                <a:pos x="245" y="516"/>
              </a:cxn>
              <a:cxn ang="0">
                <a:pos x="235" y="487"/>
              </a:cxn>
              <a:cxn ang="0">
                <a:pos x="283" y="439"/>
              </a:cxn>
              <a:cxn ang="0">
                <a:pos x="330" y="487"/>
              </a:cxn>
              <a:cxn ang="0">
                <a:pos x="320" y="516"/>
              </a:cxn>
              <a:cxn ang="0">
                <a:pos x="320" y="516"/>
              </a:cxn>
              <a:cxn ang="0">
                <a:pos x="353" y="564"/>
              </a:cxn>
              <a:cxn ang="0">
                <a:pos x="564" y="564"/>
              </a:cxn>
              <a:cxn ang="0">
                <a:pos x="564" y="354"/>
              </a:cxn>
              <a:cxn ang="0">
                <a:pos x="517" y="322"/>
              </a:cxn>
              <a:cxn ang="0">
                <a:pos x="517" y="322"/>
              </a:cxn>
              <a:cxn ang="0">
                <a:pos x="488" y="332"/>
              </a:cxn>
              <a:cxn ang="0">
                <a:pos x="440" y="284"/>
              </a:cxn>
              <a:cxn ang="0">
                <a:pos x="488" y="237"/>
              </a:cxn>
              <a:cxn ang="0">
                <a:pos x="517" y="247"/>
              </a:cxn>
              <a:cxn ang="0">
                <a:pos x="517" y="247"/>
              </a:cxn>
              <a:cxn ang="0">
                <a:pos x="564" y="214"/>
              </a:cxn>
              <a:cxn ang="0">
                <a:pos x="564" y="0"/>
              </a:cxn>
              <a:cxn ang="0">
                <a:pos x="564" y="0"/>
              </a:cxn>
              <a:cxn ang="0">
                <a:pos x="0" y="0"/>
              </a:cxn>
              <a:cxn ang="0">
                <a:pos x="0" y="564"/>
              </a:cxn>
              <a:cxn ang="0">
                <a:pos x="213" y="564"/>
              </a:cxn>
              <a:cxn ang="0">
                <a:pos x="245" y="516"/>
              </a:cxn>
            </a:cxnLst>
            <a:rect l="0" t="0" r="r" b="b"/>
            <a:pathLst>
              <a:path w="564" h="564">
                <a:moveTo>
                  <a:pt x="245" y="516"/>
                </a:moveTo>
                <a:cubicBezTo>
                  <a:pt x="245" y="516"/>
                  <a:pt x="245" y="516"/>
                  <a:pt x="245" y="516"/>
                </a:cubicBezTo>
                <a:cubicBezTo>
                  <a:pt x="239" y="508"/>
                  <a:pt x="235" y="498"/>
                  <a:pt x="235" y="487"/>
                </a:cubicBezTo>
                <a:cubicBezTo>
                  <a:pt x="235" y="461"/>
                  <a:pt x="257" y="439"/>
                  <a:pt x="283" y="439"/>
                </a:cubicBezTo>
                <a:cubicBezTo>
                  <a:pt x="309" y="439"/>
                  <a:pt x="330" y="461"/>
                  <a:pt x="330" y="487"/>
                </a:cubicBezTo>
                <a:cubicBezTo>
                  <a:pt x="330" y="498"/>
                  <a:pt x="327" y="508"/>
                  <a:pt x="320" y="516"/>
                </a:cubicBezTo>
                <a:cubicBezTo>
                  <a:pt x="320" y="516"/>
                  <a:pt x="320" y="516"/>
                  <a:pt x="320" y="516"/>
                </a:cubicBezTo>
                <a:cubicBezTo>
                  <a:pt x="302" y="538"/>
                  <a:pt x="337" y="564"/>
                  <a:pt x="353" y="564"/>
                </a:cubicBezTo>
                <a:cubicBezTo>
                  <a:pt x="564" y="564"/>
                  <a:pt x="564" y="564"/>
                  <a:pt x="564" y="564"/>
                </a:cubicBezTo>
                <a:cubicBezTo>
                  <a:pt x="564" y="354"/>
                  <a:pt x="564" y="354"/>
                  <a:pt x="564" y="354"/>
                </a:cubicBezTo>
                <a:cubicBezTo>
                  <a:pt x="564" y="339"/>
                  <a:pt x="539" y="303"/>
                  <a:pt x="517" y="322"/>
                </a:cubicBezTo>
                <a:cubicBezTo>
                  <a:pt x="517" y="322"/>
                  <a:pt x="517" y="322"/>
                  <a:pt x="517" y="322"/>
                </a:cubicBezTo>
                <a:cubicBezTo>
                  <a:pt x="509" y="328"/>
                  <a:pt x="499" y="332"/>
                  <a:pt x="488" y="332"/>
                </a:cubicBezTo>
                <a:cubicBezTo>
                  <a:pt x="461" y="332"/>
                  <a:pt x="440" y="310"/>
                  <a:pt x="440" y="284"/>
                </a:cubicBezTo>
                <a:cubicBezTo>
                  <a:pt x="440" y="258"/>
                  <a:pt x="461" y="237"/>
                  <a:pt x="488" y="237"/>
                </a:cubicBezTo>
                <a:cubicBezTo>
                  <a:pt x="499" y="237"/>
                  <a:pt x="509" y="241"/>
                  <a:pt x="517" y="247"/>
                </a:cubicBezTo>
                <a:cubicBezTo>
                  <a:pt x="517" y="247"/>
                  <a:pt x="517" y="247"/>
                  <a:pt x="517" y="247"/>
                </a:cubicBezTo>
                <a:cubicBezTo>
                  <a:pt x="539" y="265"/>
                  <a:pt x="564" y="230"/>
                  <a:pt x="564" y="214"/>
                </a:cubicBezTo>
                <a:cubicBezTo>
                  <a:pt x="564" y="0"/>
                  <a:pt x="564" y="0"/>
                  <a:pt x="564" y="0"/>
                </a:cubicBezTo>
                <a:cubicBezTo>
                  <a:pt x="564" y="0"/>
                  <a:pt x="564" y="0"/>
                  <a:pt x="56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564"/>
                  <a:pt x="0" y="564"/>
                  <a:pt x="0" y="564"/>
                </a:cubicBezTo>
                <a:cubicBezTo>
                  <a:pt x="213" y="564"/>
                  <a:pt x="213" y="564"/>
                  <a:pt x="213" y="564"/>
                </a:cubicBezTo>
                <a:cubicBezTo>
                  <a:pt x="229" y="564"/>
                  <a:pt x="264" y="538"/>
                  <a:pt x="245" y="516"/>
                </a:cubicBezTo>
                <a:close/>
              </a:path>
            </a:pathLst>
          </a:custGeom>
          <a:solidFill>
            <a:srgbClr val="FFCF01">
              <a:alpha val="60000"/>
            </a:srgb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>
              <a:rot lat="0" lon="0" rev="0"/>
            </a:lightRig>
          </a:scene3d>
          <a:sp3d extrusionH="304800" contourW="19050">
            <a:bevelT w="101600" prst="convex"/>
            <a:bevelB w="0" h="635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2" name="Freeform 10"/>
          <p:cNvSpPr>
            <a:spLocks/>
          </p:cNvSpPr>
          <p:nvPr/>
        </p:nvSpPr>
        <p:spPr bwMode="auto">
          <a:xfrm>
            <a:off x="4336189" y="1778920"/>
            <a:ext cx="2335331" cy="1255140"/>
          </a:xfrm>
          <a:custGeom>
            <a:avLst/>
            <a:gdLst/>
            <a:ahLst/>
            <a:cxnLst>
              <a:cxn ang="0">
                <a:pos x="765" y="237"/>
              </a:cxn>
              <a:cxn ang="0">
                <a:pos x="736" y="247"/>
              </a:cxn>
              <a:cxn ang="0">
                <a:pos x="736" y="247"/>
              </a:cxn>
              <a:cxn ang="0">
                <a:pos x="688" y="214"/>
              </a:cxn>
              <a:cxn ang="0">
                <a:pos x="688" y="0"/>
              </a:cxn>
              <a:cxn ang="0">
                <a:pos x="124" y="0"/>
              </a:cxn>
              <a:cxn ang="0">
                <a:pos x="124" y="214"/>
              </a:cxn>
              <a:cxn ang="0">
                <a:pos x="77" y="247"/>
              </a:cxn>
              <a:cxn ang="0">
                <a:pos x="77" y="247"/>
              </a:cxn>
              <a:cxn ang="0">
                <a:pos x="48" y="237"/>
              </a:cxn>
              <a:cxn ang="0">
                <a:pos x="0" y="284"/>
              </a:cxn>
              <a:cxn ang="0">
                <a:pos x="48" y="332"/>
              </a:cxn>
              <a:cxn ang="0">
                <a:pos x="77" y="322"/>
              </a:cxn>
              <a:cxn ang="0">
                <a:pos x="77" y="322"/>
              </a:cxn>
              <a:cxn ang="0">
                <a:pos x="124" y="354"/>
              </a:cxn>
              <a:cxn ang="0">
                <a:pos x="124" y="564"/>
              </a:cxn>
              <a:cxn ang="0">
                <a:pos x="336" y="564"/>
              </a:cxn>
              <a:cxn ang="0">
                <a:pos x="369" y="516"/>
              </a:cxn>
              <a:cxn ang="0">
                <a:pos x="369" y="516"/>
              </a:cxn>
              <a:cxn ang="0">
                <a:pos x="359" y="487"/>
              </a:cxn>
              <a:cxn ang="0">
                <a:pos x="406" y="439"/>
              </a:cxn>
              <a:cxn ang="0">
                <a:pos x="454" y="487"/>
              </a:cxn>
              <a:cxn ang="0">
                <a:pos x="444" y="516"/>
              </a:cxn>
              <a:cxn ang="0">
                <a:pos x="444" y="516"/>
              </a:cxn>
              <a:cxn ang="0">
                <a:pos x="477" y="564"/>
              </a:cxn>
              <a:cxn ang="0">
                <a:pos x="688" y="564"/>
              </a:cxn>
              <a:cxn ang="0">
                <a:pos x="688" y="354"/>
              </a:cxn>
              <a:cxn ang="0">
                <a:pos x="736" y="322"/>
              </a:cxn>
              <a:cxn ang="0">
                <a:pos x="736" y="322"/>
              </a:cxn>
              <a:cxn ang="0">
                <a:pos x="765" y="332"/>
              </a:cxn>
              <a:cxn ang="0">
                <a:pos x="813" y="284"/>
              </a:cxn>
              <a:cxn ang="0">
                <a:pos x="765" y="237"/>
              </a:cxn>
            </a:cxnLst>
            <a:rect l="0" t="0" r="r" b="b"/>
            <a:pathLst>
              <a:path w="813" h="564">
                <a:moveTo>
                  <a:pt x="765" y="237"/>
                </a:moveTo>
                <a:cubicBezTo>
                  <a:pt x="754" y="237"/>
                  <a:pt x="744" y="241"/>
                  <a:pt x="736" y="247"/>
                </a:cubicBezTo>
                <a:cubicBezTo>
                  <a:pt x="736" y="247"/>
                  <a:pt x="736" y="247"/>
                  <a:pt x="736" y="247"/>
                </a:cubicBezTo>
                <a:cubicBezTo>
                  <a:pt x="714" y="265"/>
                  <a:pt x="688" y="230"/>
                  <a:pt x="688" y="214"/>
                </a:cubicBezTo>
                <a:cubicBezTo>
                  <a:pt x="688" y="0"/>
                  <a:pt x="688" y="0"/>
                  <a:pt x="688" y="0"/>
                </a:cubicBezTo>
                <a:cubicBezTo>
                  <a:pt x="124" y="0"/>
                  <a:pt x="124" y="0"/>
                  <a:pt x="124" y="0"/>
                </a:cubicBezTo>
                <a:cubicBezTo>
                  <a:pt x="124" y="214"/>
                  <a:pt x="124" y="214"/>
                  <a:pt x="124" y="214"/>
                </a:cubicBezTo>
                <a:cubicBezTo>
                  <a:pt x="124" y="230"/>
                  <a:pt x="99" y="265"/>
                  <a:pt x="77" y="247"/>
                </a:cubicBezTo>
                <a:cubicBezTo>
                  <a:pt x="77" y="247"/>
                  <a:pt x="77" y="247"/>
                  <a:pt x="77" y="247"/>
                </a:cubicBezTo>
                <a:cubicBezTo>
                  <a:pt x="69" y="241"/>
                  <a:pt x="59" y="237"/>
                  <a:pt x="48" y="237"/>
                </a:cubicBezTo>
                <a:cubicBezTo>
                  <a:pt x="21" y="237"/>
                  <a:pt x="0" y="258"/>
                  <a:pt x="0" y="284"/>
                </a:cubicBezTo>
                <a:cubicBezTo>
                  <a:pt x="0" y="310"/>
                  <a:pt x="21" y="332"/>
                  <a:pt x="48" y="332"/>
                </a:cubicBezTo>
                <a:cubicBezTo>
                  <a:pt x="59" y="332"/>
                  <a:pt x="69" y="328"/>
                  <a:pt x="77" y="322"/>
                </a:cubicBezTo>
                <a:cubicBezTo>
                  <a:pt x="77" y="322"/>
                  <a:pt x="77" y="322"/>
                  <a:pt x="77" y="322"/>
                </a:cubicBezTo>
                <a:cubicBezTo>
                  <a:pt x="99" y="303"/>
                  <a:pt x="124" y="339"/>
                  <a:pt x="124" y="354"/>
                </a:cubicBezTo>
                <a:cubicBezTo>
                  <a:pt x="124" y="564"/>
                  <a:pt x="124" y="564"/>
                  <a:pt x="124" y="564"/>
                </a:cubicBezTo>
                <a:cubicBezTo>
                  <a:pt x="336" y="564"/>
                  <a:pt x="336" y="564"/>
                  <a:pt x="336" y="564"/>
                </a:cubicBezTo>
                <a:cubicBezTo>
                  <a:pt x="352" y="564"/>
                  <a:pt x="387" y="538"/>
                  <a:pt x="369" y="516"/>
                </a:cubicBezTo>
                <a:cubicBezTo>
                  <a:pt x="369" y="516"/>
                  <a:pt x="369" y="516"/>
                  <a:pt x="369" y="516"/>
                </a:cubicBezTo>
                <a:cubicBezTo>
                  <a:pt x="363" y="508"/>
                  <a:pt x="359" y="498"/>
                  <a:pt x="359" y="487"/>
                </a:cubicBezTo>
                <a:cubicBezTo>
                  <a:pt x="359" y="461"/>
                  <a:pt x="380" y="439"/>
                  <a:pt x="406" y="439"/>
                </a:cubicBezTo>
                <a:cubicBezTo>
                  <a:pt x="433" y="439"/>
                  <a:pt x="454" y="461"/>
                  <a:pt x="454" y="487"/>
                </a:cubicBezTo>
                <a:cubicBezTo>
                  <a:pt x="454" y="498"/>
                  <a:pt x="450" y="508"/>
                  <a:pt x="444" y="516"/>
                </a:cubicBezTo>
                <a:cubicBezTo>
                  <a:pt x="444" y="516"/>
                  <a:pt x="444" y="516"/>
                  <a:pt x="444" y="516"/>
                </a:cubicBezTo>
                <a:cubicBezTo>
                  <a:pt x="425" y="538"/>
                  <a:pt x="461" y="564"/>
                  <a:pt x="477" y="564"/>
                </a:cubicBezTo>
                <a:cubicBezTo>
                  <a:pt x="688" y="564"/>
                  <a:pt x="688" y="564"/>
                  <a:pt x="688" y="564"/>
                </a:cubicBezTo>
                <a:cubicBezTo>
                  <a:pt x="688" y="354"/>
                  <a:pt x="688" y="354"/>
                  <a:pt x="688" y="354"/>
                </a:cubicBezTo>
                <a:cubicBezTo>
                  <a:pt x="688" y="339"/>
                  <a:pt x="714" y="303"/>
                  <a:pt x="736" y="322"/>
                </a:cubicBezTo>
                <a:cubicBezTo>
                  <a:pt x="736" y="322"/>
                  <a:pt x="736" y="322"/>
                  <a:pt x="736" y="322"/>
                </a:cubicBezTo>
                <a:cubicBezTo>
                  <a:pt x="744" y="328"/>
                  <a:pt x="754" y="332"/>
                  <a:pt x="765" y="332"/>
                </a:cubicBezTo>
                <a:cubicBezTo>
                  <a:pt x="791" y="332"/>
                  <a:pt x="813" y="310"/>
                  <a:pt x="813" y="284"/>
                </a:cubicBezTo>
                <a:cubicBezTo>
                  <a:pt x="813" y="258"/>
                  <a:pt x="791" y="237"/>
                  <a:pt x="765" y="237"/>
                </a:cubicBezTo>
                <a:close/>
              </a:path>
            </a:pathLst>
          </a:cu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3" name="矩形 13"/>
          <p:cNvSpPr>
            <a:spLocks noChangeArrowheads="1"/>
          </p:cNvSpPr>
          <p:nvPr/>
        </p:nvSpPr>
        <p:spPr bwMode="auto">
          <a:xfrm>
            <a:off x="3116263" y="4759325"/>
            <a:ext cx="13398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787400" eaLnBrk="0" hangingPunct="0"/>
            <a:r>
              <a:rPr kumimoji="1" lang="zh-CN" altLang="en-US" sz="14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文本</a:t>
            </a:r>
          </a:p>
        </p:txBody>
      </p:sp>
      <p:sp>
        <p:nvSpPr>
          <p:cNvPr id="74" name="矩形 13"/>
          <p:cNvSpPr>
            <a:spLocks noChangeArrowheads="1"/>
          </p:cNvSpPr>
          <p:nvPr/>
        </p:nvSpPr>
        <p:spPr bwMode="auto">
          <a:xfrm>
            <a:off x="4897438" y="4759325"/>
            <a:ext cx="13398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787400" eaLnBrk="0" hangingPunct="0"/>
            <a:r>
              <a:rPr kumimoji="1" lang="zh-CN" altLang="en-US" sz="14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文本</a:t>
            </a:r>
          </a:p>
        </p:txBody>
      </p:sp>
      <p:sp>
        <p:nvSpPr>
          <p:cNvPr id="75" name="矩形 13"/>
          <p:cNvSpPr>
            <a:spLocks noChangeArrowheads="1"/>
          </p:cNvSpPr>
          <p:nvPr/>
        </p:nvSpPr>
        <p:spPr bwMode="auto">
          <a:xfrm>
            <a:off x="6548438" y="4759325"/>
            <a:ext cx="13398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787400" eaLnBrk="0" hangingPunct="0"/>
            <a:r>
              <a:rPr kumimoji="1" lang="zh-CN" altLang="en-US" sz="14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文本</a:t>
            </a:r>
          </a:p>
        </p:txBody>
      </p:sp>
      <p:sp>
        <p:nvSpPr>
          <p:cNvPr id="76" name="矩形 13"/>
          <p:cNvSpPr>
            <a:spLocks noChangeArrowheads="1"/>
          </p:cNvSpPr>
          <p:nvPr/>
        </p:nvSpPr>
        <p:spPr bwMode="auto">
          <a:xfrm>
            <a:off x="3116263" y="3505200"/>
            <a:ext cx="13398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787400" eaLnBrk="0" hangingPunct="0"/>
            <a:r>
              <a:rPr kumimoji="1" lang="zh-CN" altLang="en-US" sz="14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文本</a:t>
            </a:r>
          </a:p>
        </p:txBody>
      </p:sp>
      <p:sp>
        <p:nvSpPr>
          <p:cNvPr id="77" name="矩形 13"/>
          <p:cNvSpPr>
            <a:spLocks noChangeArrowheads="1"/>
          </p:cNvSpPr>
          <p:nvPr/>
        </p:nvSpPr>
        <p:spPr bwMode="auto">
          <a:xfrm>
            <a:off x="4897438" y="3505200"/>
            <a:ext cx="13398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787400" eaLnBrk="0" hangingPunct="0"/>
            <a:r>
              <a:rPr kumimoji="1" lang="zh-CN" altLang="en-US" sz="14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文本</a:t>
            </a:r>
          </a:p>
        </p:txBody>
      </p:sp>
      <p:sp>
        <p:nvSpPr>
          <p:cNvPr id="78" name="矩形 13"/>
          <p:cNvSpPr>
            <a:spLocks noChangeArrowheads="1"/>
          </p:cNvSpPr>
          <p:nvPr/>
        </p:nvSpPr>
        <p:spPr bwMode="auto">
          <a:xfrm>
            <a:off x="6548438" y="3505200"/>
            <a:ext cx="13398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787400" eaLnBrk="0" hangingPunct="0"/>
            <a:r>
              <a:rPr kumimoji="1" lang="zh-CN" altLang="en-US" sz="14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文本</a:t>
            </a:r>
          </a:p>
        </p:txBody>
      </p:sp>
      <p:sp>
        <p:nvSpPr>
          <p:cNvPr id="79" name="矩形 13"/>
          <p:cNvSpPr>
            <a:spLocks noChangeArrowheads="1"/>
          </p:cNvSpPr>
          <p:nvPr/>
        </p:nvSpPr>
        <p:spPr bwMode="auto">
          <a:xfrm>
            <a:off x="3116263" y="2233612"/>
            <a:ext cx="13398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787400" eaLnBrk="0" hangingPunct="0"/>
            <a:r>
              <a:rPr kumimoji="1" lang="zh-CN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文本</a:t>
            </a:r>
          </a:p>
        </p:txBody>
      </p:sp>
      <p:sp>
        <p:nvSpPr>
          <p:cNvPr id="80" name="矩形 13"/>
          <p:cNvSpPr>
            <a:spLocks noChangeArrowheads="1"/>
          </p:cNvSpPr>
          <p:nvPr/>
        </p:nvSpPr>
        <p:spPr bwMode="auto">
          <a:xfrm>
            <a:off x="4897438" y="2233612"/>
            <a:ext cx="13398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787400" eaLnBrk="0" hangingPunct="0"/>
            <a:r>
              <a:rPr kumimoji="1" lang="zh-CN" altLang="en-US" sz="14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文本</a:t>
            </a:r>
          </a:p>
        </p:txBody>
      </p:sp>
      <p:sp>
        <p:nvSpPr>
          <p:cNvPr id="81" name="矩形 13"/>
          <p:cNvSpPr>
            <a:spLocks noChangeArrowheads="1"/>
          </p:cNvSpPr>
          <p:nvPr/>
        </p:nvSpPr>
        <p:spPr bwMode="auto">
          <a:xfrm>
            <a:off x="6548438" y="2233612"/>
            <a:ext cx="13398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787400" eaLnBrk="0" hangingPunct="0"/>
            <a:r>
              <a:rPr kumimoji="1" lang="zh-CN" altLang="en-US" sz="14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文本</a:t>
            </a:r>
          </a:p>
        </p:txBody>
      </p:sp>
      <p:grpSp>
        <p:nvGrpSpPr>
          <p:cNvPr id="43" name="组合 42"/>
          <p:cNvGrpSpPr/>
          <p:nvPr/>
        </p:nvGrpSpPr>
        <p:grpSpPr>
          <a:xfrm>
            <a:off x="2237874" y="2208490"/>
            <a:ext cx="708916" cy="396000"/>
            <a:chOff x="2237874" y="2279928"/>
            <a:chExt cx="708916" cy="396000"/>
          </a:xfrm>
        </p:grpSpPr>
        <p:sp>
          <p:nvSpPr>
            <p:cNvPr id="86" name="燕尾形 85"/>
            <p:cNvSpPr/>
            <p:nvPr/>
          </p:nvSpPr>
          <p:spPr>
            <a:xfrm>
              <a:off x="2237874" y="2279928"/>
              <a:ext cx="360000" cy="396000"/>
            </a:xfrm>
            <a:prstGeom prst="chevron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h="50800" prst="convex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7" name="燕尾形 86"/>
            <p:cNvSpPr/>
            <p:nvPr/>
          </p:nvSpPr>
          <p:spPr>
            <a:xfrm>
              <a:off x="2586790" y="2279928"/>
              <a:ext cx="360000" cy="396000"/>
            </a:xfrm>
            <a:prstGeom prst="chevron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h="50800" prst="convex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44" name="组合 43"/>
          <p:cNvGrpSpPr/>
          <p:nvPr/>
        </p:nvGrpSpPr>
        <p:grpSpPr>
          <a:xfrm>
            <a:off x="2237874" y="3480436"/>
            <a:ext cx="708916" cy="396000"/>
            <a:chOff x="2237874" y="3551874"/>
            <a:chExt cx="708916" cy="396000"/>
          </a:xfrm>
        </p:grpSpPr>
        <p:sp>
          <p:nvSpPr>
            <p:cNvPr id="88" name="燕尾形 87"/>
            <p:cNvSpPr/>
            <p:nvPr/>
          </p:nvSpPr>
          <p:spPr>
            <a:xfrm>
              <a:off x="2237874" y="3551874"/>
              <a:ext cx="360000" cy="396000"/>
            </a:xfrm>
            <a:prstGeom prst="chevron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h="50800" prst="convex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9" name="燕尾形 88"/>
            <p:cNvSpPr/>
            <p:nvPr/>
          </p:nvSpPr>
          <p:spPr>
            <a:xfrm>
              <a:off x="2586790" y="3551874"/>
              <a:ext cx="360000" cy="396000"/>
            </a:xfrm>
            <a:prstGeom prst="chevron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h="50800" prst="convex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2237874" y="4733350"/>
            <a:ext cx="708916" cy="396000"/>
            <a:chOff x="2237874" y="4804788"/>
            <a:chExt cx="708916" cy="396000"/>
          </a:xfrm>
        </p:grpSpPr>
        <p:sp>
          <p:nvSpPr>
            <p:cNvPr id="90" name="燕尾形 89"/>
            <p:cNvSpPr/>
            <p:nvPr/>
          </p:nvSpPr>
          <p:spPr>
            <a:xfrm>
              <a:off x="2237874" y="4804788"/>
              <a:ext cx="360000" cy="396000"/>
            </a:xfrm>
            <a:prstGeom prst="chevron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h="50800" prst="convex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91" name="燕尾形 90"/>
            <p:cNvSpPr/>
            <p:nvPr/>
          </p:nvSpPr>
          <p:spPr>
            <a:xfrm>
              <a:off x="2586790" y="4804788"/>
              <a:ext cx="360000" cy="396000"/>
            </a:xfrm>
            <a:prstGeom prst="chevron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h="50800" prst="convex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62" name="圆角矩形 61"/>
          <p:cNvSpPr/>
          <p:nvPr/>
        </p:nvSpPr>
        <p:spPr bwMode="auto">
          <a:xfrm>
            <a:off x="1129855" y="1848490"/>
            <a:ext cx="934872" cy="1116000"/>
          </a:xfrm>
          <a:prstGeom prst="roundRect">
            <a:avLst>
              <a:gd name="adj" fmla="val 2748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31750">
            <a:solidFill>
              <a:schemeClr val="bg1"/>
            </a:soli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2540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5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3" name="Text Box 29"/>
          <p:cNvSpPr txBox="1">
            <a:spLocks noChangeArrowheads="1"/>
          </p:cNvSpPr>
          <p:nvPr/>
        </p:nvSpPr>
        <p:spPr bwMode="gray">
          <a:xfrm>
            <a:off x="1110289" y="2114103"/>
            <a:ext cx="974004" cy="584775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</a:t>
            </a:r>
            <a:endParaRPr lang="en-US" altLang="zh-CN" sz="1600" dirty="0">
              <a:solidFill>
                <a:schemeClr val="bg1"/>
              </a:solidFill>
              <a:effectLst>
                <a:reflection blurRad="6350" stA="50000" endA="300" endPos="50000" dist="60007" dir="5400000" sy="-100000" algn="bl" rotWithShape="0"/>
              </a:effectLst>
              <a:latin typeface="微软雅黑" pitchFamily="34" charset="-122"/>
              <a:ea typeface="微软雅黑" pitchFamily="34" charset="-122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标题</a:t>
            </a:r>
          </a:p>
        </p:txBody>
      </p:sp>
      <p:sp>
        <p:nvSpPr>
          <p:cNvPr id="82" name="圆角矩形 81"/>
          <p:cNvSpPr/>
          <p:nvPr/>
        </p:nvSpPr>
        <p:spPr bwMode="auto">
          <a:xfrm>
            <a:off x="1129855" y="3120436"/>
            <a:ext cx="934872" cy="1116000"/>
          </a:xfrm>
          <a:prstGeom prst="roundRect">
            <a:avLst>
              <a:gd name="adj" fmla="val 2748"/>
            </a:avLst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 w="31750">
            <a:solidFill>
              <a:schemeClr val="bg1"/>
            </a:soli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25400">
            <a:bevelT w="101600" prst="convex"/>
            <a:bevelB w="0" h="63500"/>
            <a:contourClr>
              <a:srgbClr val="AFEAFF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5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3" name="Text Box 29"/>
          <p:cNvSpPr txBox="1">
            <a:spLocks noChangeArrowheads="1"/>
          </p:cNvSpPr>
          <p:nvPr/>
        </p:nvSpPr>
        <p:spPr bwMode="gray">
          <a:xfrm>
            <a:off x="1110289" y="3386049"/>
            <a:ext cx="974004" cy="584775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</a:t>
            </a:r>
            <a:endParaRPr lang="en-US" altLang="zh-CN" sz="1600" dirty="0">
              <a:solidFill>
                <a:schemeClr val="bg1"/>
              </a:solidFill>
              <a:effectLst>
                <a:reflection blurRad="6350" stA="50000" endA="300" endPos="50000" dist="60007" dir="5400000" sy="-100000" algn="bl" rotWithShape="0"/>
              </a:effectLst>
              <a:latin typeface="微软雅黑" pitchFamily="34" charset="-122"/>
              <a:ea typeface="微软雅黑" pitchFamily="34" charset="-122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标题</a:t>
            </a:r>
          </a:p>
        </p:txBody>
      </p:sp>
      <p:sp>
        <p:nvSpPr>
          <p:cNvPr id="84" name="圆角矩形 83"/>
          <p:cNvSpPr/>
          <p:nvPr/>
        </p:nvSpPr>
        <p:spPr bwMode="auto">
          <a:xfrm>
            <a:off x="1129855" y="4373350"/>
            <a:ext cx="934872" cy="1116000"/>
          </a:xfrm>
          <a:prstGeom prst="roundRect">
            <a:avLst>
              <a:gd name="adj" fmla="val 2748"/>
            </a:avLst>
          </a:prstGeom>
          <a:gradFill flip="none" rotWithShape="1">
            <a:gsLst>
              <a:gs pos="0">
                <a:srgbClr val="6EFF01"/>
              </a:gs>
              <a:gs pos="90000">
                <a:srgbClr val="0F5000"/>
              </a:gs>
            </a:gsLst>
            <a:lin ang="2700000" scaled="1"/>
            <a:tileRect/>
          </a:gradFill>
          <a:ln w="31750">
            <a:solidFill>
              <a:schemeClr val="bg1"/>
            </a:soli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25400">
            <a:bevelT prst="convex"/>
            <a:bevelB w="0" h="0"/>
            <a:contourClr>
              <a:srgbClr val="89FF8C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5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5" name="Text Box 29"/>
          <p:cNvSpPr txBox="1">
            <a:spLocks noChangeArrowheads="1"/>
          </p:cNvSpPr>
          <p:nvPr/>
        </p:nvSpPr>
        <p:spPr bwMode="gray">
          <a:xfrm>
            <a:off x="1110289" y="4638963"/>
            <a:ext cx="974004" cy="584775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</a:t>
            </a:r>
            <a:endParaRPr lang="en-US" altLang="zh-CN" sz="1600" dirty="0">
              <a:solidFill>
                <a:schemeClr val="bg1"/>
              </a:solidFill>
              <a:effectLst>
                <a:reflection blurRad="6350" stA="50000" endA="300" endPos="50000" dist="60007" dir="5400000" sy="-100000" algn="bl" rotWithShape="0"/>
              </a:effectLst>
              <a:latin typeface="微软雅黑" pitchFamily="34" charset="-122"/>
              <a:ea typeface="微软雅黑" pitchFamily="34" charset="-122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标题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8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000"/>
                            </p:stCondLst>
                            <p:childTnLst>
                              <p:par>
                                <p:cTn id="3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6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500"/>
                            </p:stCondLst>
                            <p:childTnLst>
                              <p:par>
                                <p:cTn id="38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0"/>
                            </p:stCondLst>
                            <p:childTnLst>
                              <p:par>
                                <p:cTn id="43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500"/>
                            </p:stCondLst>
                            <p:childTnLst>
                              <p:par>
                                <p:cTn id="48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7000"/>
                            </p:stCondLst>
                            <p:childTnLst>
                              <p:par>
                                <p:cTn id="5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7500"/>
                            </p:stCondLst>
                            <p:childTnLst>
                              <p:par>
                                <p:cTn id="6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8000"/>
                            </p:stCondLst>
                            <p:childTnLst>
                              <p:par>
                                <p:cTn id="6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9000"/>
                            </p:stCondLst>
                            <p:childTnLst>
                              <p:par>
                                <p:cTn id="7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9500"/>
                            </p:stCondLst>
                            <p:childTnLst>
                              <p:par>
                                <p:cTn id="8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0000"/>
                            </p:stCondLst>
                            <p:childTnLst>
                              <p:par>
                                <p:cTn id="8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0500"/>
                            </p:stCondLst>
                            <p:childTnLst>
                              <p:par>
                                <p:cTn id="9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11000"/>
                            </p:stCondLst>
                            <p:childTnLst>
                              <p:par>
                                <p:cTn id="9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11500"/>
                            </p:stCondLst>
                            <p:childTnLst>
                              <p:par>
                                <p:cTn id="103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12000"/>
                            </p:stCondLst>
                            <p:childTnLst>
                              <p:par>
                                <p:cTn id="110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12500"/>
                            </p:stCondLst>
                            <p:childTnLst>
                              <p:par>
                                <p:cTn id="117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13000"/>
                            </p:stCondLst>
                            <p:childTnLst>
                              <p:par>
                                <p:cTn id="124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13500"/>
                            </p:stCondLst>
                            <p:childTnLst>
                              <p:par>
                                <p:cTn id="131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14000"/>
                            </p:stCondLst>
                            <p:childTnLst>
                              <p:par>
                                <p:cTn id="138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2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4" fill="hold">
                            <p:stCondLst>
                              <p:cond delay="14500"/>
                            </p:stCondLst>
                            <p:childTnLst>
                              <p:par>
                                <p:cTn id="14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7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1" fill="hold">
                            <p:stCondLst>
                              <p:cond delay="15000"/>
                            </p:stCondLst>
                            <p:childTnLst>
                              <p:par>
                                <p:cTn id="15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4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6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8" fill="hold">
                            <p:stCondLst>
                              <p:cond delay="15500"/>
                            </p:stCondLst>
                            <p:childTnLst>
                              <p:par>
                                <p:cTn id="15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2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4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  <p:bldP spid="64" grpId="0" animBg="1"/>
      <p:bldP spid="65" grpId="0" animBg="1"/>
      <p:bldP spid="66" grpId="0" animBg="1"/>
      <p:bldP spid="67" grpId="0" animBg="1"/>
      <p:bldP spid="68" grpId="0" animBg="1"/>
      <p:bldP spid="69" grpId="0" animBg="1"/>
      <p:bldP spid="70" grpId="0" animBg="1"/>
      <p:bldP spid="71" grpId="0" animBg="1"/>
      <p:bldP spid="72" grpId="0" animBg="1"/>
      <p:bldP spid="73" grpId="0"/>
      <p:bldP spid="74" grpId="0"/>
      <p:bldP spid="75" grpId="0"/>
      <p:bldP spid="76" grpId="0"/>
      <p:bldP spid="77" grpId="0"/>
      <p:bldP spid="78" grpId="0"/>
      <p:bldP spid="79" grpId="0"/>
      <p:bldP spid="80" grpId="0"/>
      <p:bldP spid="81" grpId="0"/>
      <p:bldP spid="62" grpId="0" animBg="1"/>
      <p:bldP spid="63" grpId="0"/>
      <p:bldP spid="82" grpId="0" animBg="1"/>
      <p:bldP spid="83" grpId="0"/>
      <p:bldP spid="84" grpId="0" animBg="1"/>
      <p:bldP spid="85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五边形 26"/>
          <p:cNvSpPr/>
          <p:nvPr/>
        </p:nvSpPr>
        <p:spPr>
          <a:xfrm rot="5400000">
            <a:off x="3826403" y="-593197"/>
            <a:ext cx="1653169" cy="7000824"/>
          </a:xfrm>
          <a:prstGeom prst="homePlate">
            <a:avLst>
              <a:gd name="adj" fmla="val 30956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AutoShape 3"/>
          <p:cNvSpPr>
            <a:spLocks noChangeArrowheads="1"/>
          </p:cNvSpPr>
          <p:nvPr/>
        </p:nvSpPr>
        <p:spPr bwMode="auto">
          <a:xfrm>
            <a:off x="1330834" y="2160281"/>
            <a:ext cx="1735605" cy="818682"/>
          </a:xfrm>
          <a:prstGeom prst="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  <a:endParaRPr lang="zh-CN" altLang="zh-CN" sz="1600" dirty="0">
              <a:solidFill>
                <a:schemeClr val="bg1"/>
              </a:solidFill>
              <a:effectLst>
                <a:reflection blurRad="6350" stA="50000" endA="300" endPos="50000" dist="29997" dir="5400000" sy="-100000" algn="bl" rotWithShape="0"/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AutoShape 3"/>
          <p:cNvSpPr>
            <a:spLocks noChangeArrowheads="1"/>
          </p:cNvSpPr>
          <p:nvPr/>
        </p:nvSpPr>
        <p:spPr bwMode="auto">
          <a:xfrm>
            <a:off x="3269756" y="2160281"/>
            <a:ext cx="2783518" cy="818682"/>
          </a:xfrm>
          <a:prstGeom prst="rect">
            <a:avLst/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AFEAFF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  <a:endParaRPr lang="zh-CN" altLang="zh-CN" sz="1600" dirty="0">
              <a:solidFill>
                <a:schemeClr val="bg1"/>
              </a:solidFill>
              <a:effectLst>
                <a:reflection blurRad="6350" stA="50000" endA="300" endPos="50000" dist="29997" dir="5400000" sy="-100000" algn="bl" rotWithShape="0"/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" name="AutoShape 3"/>
          <p:cNvSpPr>
            <a:spLocks noChangeArrowheads="1"/>
          </p:cNvSpPr>
          <p:nvPr/>
        </p:nvSpPr>
        <p:spPr bwMode="auto">
          <a:xfrm>
            <a:off x="6245790" y="2160281"/>
            <a:ext cx="1735605" cy="818682"/>
          </a:xfrm>
          <a:prstGeom prst="rect">
            <a:avLst/>
          </a:prstGeom>
          <a:gradFill flip="none" rotWithShape="1">
            <a:gsLst>
              <a:gs pos="0">
                <a:srgbClr val="6EFF01"/>
              </a:gs>
              <a:gs pos="90000">
                <a:srgbClr val="0F5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prst="convex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  <a:endParaRPr lang="zh-CN" altLang="zh-CN" sz="1600" dirty="0">
              <a:solidFill>
                <a:schemeClr val="bg1"/>
              </a:solidFill>
              <a:effectLst>
                <a:reflection blurRad="6350" stA="50000" endA="300" endPos="50000" dist="29997" dir="5400000" sy="-100000" algn="bl" rotWithShape="0"/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圆角矩形 30"/>
          <p:cNvSpPr/>
          <p:nvPr/>
        </p:nvSpPr>
        <p:spPr bwMode="auto">
          <a:xfrm>
            <a:off x="1403844" y="3800738"/>
            <a:ext cx="6501174" cy="1533595"/>
          </a:xfrm>
          <a:prstGeom prst="roundRect">
            <a:avLst>
              <a:gd name="adj" fmla="val 7635"/>
            </a:avLst>
          </a:prstGeom>
          <a:gradFill flip="none" rotWithShape="1">
            <a:gsLst>
              <a:gs pos="50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2700000" scaled="1"/>
            <a:tileRect/>
          </a:gradFill>
          <a:ln w="38100">
            <a:gradFill>
              <a:gsLst>
                <a:gs pos="50000">
                  <a:srgbClr val="00DFF6"/>
                </a:gs>
                <a:gs pos="100000">
                  <a:srgbClr val="002774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27000" prst="convex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" name="TextBox 61"/>
          <p:cNvSpPr txBox="1">
            <a:spLocks noChangeArrowheads="1"/>
          </p:cNvSpPr>
          <p:nvPr/>
        </p:nvSpPr>
        <p:spPr bwMode="auto">
          <a:xfrm>
            <a:off x="2465231" y="3987111"/>
            <a:ext cx="4378401" cy="965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150000"/>
              </a:lnSpc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这里输入文本信息</a:t>
            </a:r>
            <a:endParaRPr lang="en-US" altLang="zh-CN" sz="14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eaLnBrk="0" hangingPunct="0">
              <a:lnSpc>
                <a:spcPct val="150000"/>
              </a:lnSpc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这里输入文本信息</a:t>
            </a:r>
            <a:endParaRPr lang="en-US" altLang="zh-CN" sz="140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eaLnBrk="0" hangingPunct="0">
              <a:lnSpc>
                <a:spcPct val="150000"/>
              </a:lnSpc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这里输入文本信息</a:t>
            </a:r>
            <a:endParaRPr lang="en-US" altLang="zh-CN" sz="14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900" decel="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900" decel="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8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4000"/>
                            </p:stCondLst>
                            <p:childTnLst>
                              <p:par>
                                <p:cTn id="3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0"/>
                            </p:stCondLst>
                            <p:childTnLst>
                              <p:par>
                                <p:cTn id="3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8" grpId="0" animBg="1"/>
      <p:bldP spid="29" grpId="0" animBg="1"/>
      <p:bldP spid="30" grpId="0" animBg="1"/>
      <p:bldP spid="31" grpId="0" animBg="1"/>
      <p:bldP spid="3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AutoShape 75"/>
          <p:cNvSpPr>
            <a:spLocks noChangeArrowheads="1"/>
          </p:cNvSpPr>
          <p:nvPr/>
        </p:nvSpPr>
        <p:spPr bwMode="gray">
          <a:xfrm>
            <a:off x="1991754" y="2391002"/>
            <a:ext cx="5292000" cy="1800000"/>
          </a:xfrm>
          <a:prstGeom prst="downArrow">
            <a:avLst>
              <a:gd name="adj1" fmla="val 80356"/>
              <a:gd name="adj2" fmla="val 54167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Text Box 76"/>
          <p:cNvSpPr txBox="1">
            <a:spLocks noChangeArrowheads="1"/>
          </p:cNvSpPr>
          <p:nvPr/>
        </p:nvSpPr>
        <p:spPr bwMode="auto">
          <a:xfrm>
            <a:off x="3511550" y="3495677"/>
            <a:ext cx="2274888" cy="3079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>
                <a:solidFill>
                  <a:schemeClr val="bg1"/>
                </a:solidFill>
                <a:latin typeface="Arial" pitchFamily="34" charset="0"/>
                <a:ea typeface="微软雅黑" pitchFamily="34" charset="-122"/>
              </a:rPr>
              <a:t>箭头说明文字</a:t>
            </a:r>
          </a:p>
        </p:txBody>
      </p:sp>
      <p:sp>
        <p:nvSpPr>
          <p:cNvPr id="18" name="AutoShape 81"/>
          <p:cNvSpPr>
            <a:spLocks noChangeArrowheads="1"/>
          </p:cNvSpPr>
          <p:nvPr/>
        </p:nvSpPr>
        <p:spPr bwMode="auto">
          <a:xfrm>
            <a:off x="1387880" y="4335431"/>
            <a:ext cx="1980000" cy="1080000"/>
          </a:xfrm>
          <a:prstGeom prst="roundRect">
            <a:avLst>
              <a:gd name="adj" fmla="val 8789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19" name="AutoShape 82"/>
          <p:cNvSpPr>
            <a:spLocks noChangeArrowheads="1"/>
          </p:cNvSpPr>
          <p:nvPr/>
        </p:nvSpPr>
        <p:spPr bwMode="auto">
          <a:xfrm>
            <a:off x="3647860" y="4335431"/>
            <a:ext cx="1980000" cy="1080000"/>
          </a:xfrm>
          <a:prstGeom prst="roundRect">
            <a:avLst>
              <a:gd name="adj" fmla="val 10212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20" name="AutoShape 83"/>
          <p:cNvSpPr>
            <a:spLocks noChangeArrowheads="1"/>
          </p:cNvSpPr>
          <p:nvPr/>
        </p:nvSpPr>
        <p:spPr bwMode="auto">
          <a:xfrm>
            <a:off x="5906325" y="4335431"/>
            <a:ext cx="1980000" cy="1080000"/>
          </a:xfrm>
          <a:prstGeom prst="roundRect">
            <a:avLst>
              <a:gd name="adj" fmla="val 11948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grpSp>
        <p:nvGrpSpPr>
          <p:cNvPr id="21" name="组合 42"/>
          <p:cNvGrpSpPr>
            <a:grpSpLocks/>
          </p:cNvGrpSpPr>
          <p:nvPr/>
        </p:nvGrpSpPr>
        <p:grpSpPr bwMode="auto">
          <a:xfrm>
            <a:off x="1331913" y="4287839"/>
            <a:ext cx="360362" cy="358775"/>
            <a:chOff x="1220659" y="4812330"/>
            <a:chExt cx="360000" cy="360000"/>
          </a:xfrm>
        </p:grpSpPr>
        <p:sp>
          <p:nvSpPr>
            <p:cNvPr id="22" name="Oval 84"/>
            <p:cNvSpPr>
              <a:spLocks noChangeAspect="1" noChangeArrowheads="1"/>
            </p:cNvSpPr>
            <p:nvPr/>
          </p:nvSpPr>
          <p:spPr bwMode="auto">
            <a:xfrm>
              <a:off x="1220659" y="4812330"/>
              <a:ext cx="360000" cy="360000"/>
            </a:xfrm>
            <a:prstGeom prst="ellipse">
              <a:avLst/>
            </a:prstGeom>
            <a:gradFill flip="none" rotWithShape="1">
              <a:gsLst>
                <a:gs pos="0">
                  <a:srgbClr val="F6BB00"/>
                </a:gs>
                <a:gs pos="90000">
                  <a:srgbClr val="ED6601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defTabSz="912813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3" name="Text Box 85"/>
            <p:cNvSpPr txBox="1">
              <a:spLocks noChangeArrowheads="1"/>
            </p:cNvSpPr>
            <p:nvPr/>
          </p:nvSpPr>
          <p:spPr bwMode="auto">
            <a:xfrm>
              <a:off x="1234932" y="4836224"/>
              <a:ext cx="331455" cy="3074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spc="50" dirty="0">
                  <a:ln w="11430"/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1</a:t>
              </a:r>
            </a:p>
          </p:txBody>
        </p:sp>
      </p:grpSp>
      <p:grpSp>
        <p:nvGrpSpPr>
          <p:cNvPr id="24" name="组合 45"/>
          <p:cNvGrpSpPr>
            <a:grpSpLocks/>
          </p:cNvGrpSpPr>
          <p:nvPr/>
        </p:nvGrpSpPr>
        <p:grpSpPr bwMode="auto">
          <a:xfrm>
            <a:off x="3590925" y="4287839"/>
            <a:ext cx="360363" cy="358775"/>
            <a:chOff x="3401927" y="4812330"/>
            <a:chExt cx="360000" cy="360000"/>
          </a:xfrm>
        </p:grpSpPr>
        <p:sp>
          <p:nvSpPr>
            <p:cNvPr id="25" name="Oval 88"/>
            <p:cNvSpPr>
              <a:spLocks noChangeAspect="1" noChangeArrowheads="1"/>
            </p:cNvSpPr>
            <p:nvPr/>
          </p:nvSpPr>
          <p:spPr bwMode="auto">
            <a:xfrm>
              <a:off x="3401927" y="4812330"/>
              <a:ext cx="360000" cy="360000"/>
            </a:xfrm>
            <a:prstGeom prst="ellipse">
              <a:avLst/>
            </a:prstGeom>
            <a:gradFill flip="none" rotWithShape="1">
              <a:gsLst>
                <a:gs pos="0">
                  <a:srgbClr val="F6BB00"/>
                </a:gs>
                <a:gs pos="90000">
                  <a:srgbClr val="ED6601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defTabSz="912813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6" name="Text Box 89"/>
            <p:cNvSpPr txBox="1">
              <a:spLocks noChangeArrowheads="1"/>
            </p:cNvSpPr>
            <p:nvPr/>
          </p:nvSpPr>
          <p:spPr bwMode="auto">
            <a:xfrm>
              <a:off x="3419372" y="4836224"/>
              <a:ext cx="325109" cy="3074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spc="50" dirty="0">
                  <a:ln w="11430"/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2</a:t>
              </a:r>
            </a:p>
          </p:txBody>
        </p:sp>
      </p:grpSp>
      <p:grpSp>
        <p:nvGrpSpPr>
          <p:cNvPr id="27" name="组合 48"/>
          <p:cNvGrpSpPr>
            <a:grpSpLocks/>
          </p:cNvGrpSpPr>
          <p:nvPr/>
        </p:nvGrpSpPr>
        <p:grpSpPr bwMode="auto">
          <a:xfrm>
            <a:off x="5849938" y="4287839"/>
            <a:ext cx="360362" cy="358775"/>
            <a:chOff x="5721318" y="4812330"/>
            <a:chExt cx="360000" cy="360000"/>
          </a:xfrm>
        </p:grpSpPr>
        <p:sp>
          <p:nvSpPr>
            <p:cNvPr id="28" name="Oval 91"/>
            <p:cNvSpPr>
              <a:spLocks noChangeAspect="1" noChangeArrowheads="1"/>
            </p:cNvSpPr>
            <p:nvPr/>
          </p:nvSpPr>
          <p:spPr bwMode="auto">
            <a:xfrm>
              <a:off x="5721318" y="4812330"/>
              <a:ext cx="360000" cy="360000"/>
            </a:xfrm>
            <a:prstGeom prst="ellipse">
              <a:avLst/>
            </a:prstGeom>
            <a:gradFill flip="none" rotWithShape="1">
              <a:gsLst>
                <a:gs pos="0">
                  <a:srgbClr val="F6BB00"/>
                </a:gs>
                <a:gs pos="90000">
                  <a:srgbClr val="ED6601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defTabSz="912813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9" name="Text Box 92"/>
            <p:cNvSpPr txBox="1">
              <a:spLocks noChangeArrowheads="1"/>
            </p:cNvSpPr>
            <p:nvPr/>
          </p:nvSpPr>
          <p:spPr bwMode="auto">
            <a:xfrm>
              <a:off x="5745106" y="4836224"/>
              <a:ext cx="312424" cy="3074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spc="50" dirty="0">
                  <a:ln w="11430"/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3</a:t>
              </a:r>
            </a:p>
          </p:txBody>
        </p:sp>
      </p:grpSp>
      <p:grpSp>
        <p:nvGrpSpPr>
          <p:cNvPr id="30" name="组合 34"/>
          <p:cNvGrpSpPr>
            <a:grpSpLocks noChangeAspect="1"/>
          </p:cNvGrpSpPr>
          <p:nvPr/>
        </p:nvGrpSpPr>
        <p:grpSpPr bwMode="auto">
          <a:xfrm>
            <a:off x="3973513" y="1676402"/>
            <a:ext cx="1328737" cy="1368425"/>
            <a:chOff x="4776334" y="4404803"/>
            <a:chExt cx="1012166" cy="1008001"/>
          </a:xfrm>
        </p:grpSpPr>
        <p:sp>
          <p:nvSpPr>
            <p:cNvPr id="31" name="Oval 2"/>
            <p:cNvSpPr>
              <a:spLocks noChangeAspect="1" noChangeArrowheads="1"/>
            </p:cNvSpPr>
            <p:nvPr/>
          </p:nvSpPr>
          <p:spPr bwMode="auto">
            <a:xfrm>
              <a:off x="4780500" y="4404803"/>
              <a:ext cx="1008000" cy="1008001"/>
            </a:xfrm>
            <a:prstGeom prst="ellipse">
              <a:avLst/>
            </a:prstGeom>
            <a:gradFill flip="none" rotWithShape="1">
              <a:gsLst>
                <a:gs pos="0">
                  <a:srgbClr val="00DFF6"/>
                </a:gs>
                <a:gs pos="90000">
                  <a:srgbClr val="002774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2" name="椭圆 31"/>
            <p:cNvSpPr>
              <a:spLocks/>
            </p:cNvSpPr>
            <p:nvPr/>
          </p:nvSpPr>
          <p:spPr>
            <a:xfrm rot="19388639">
              <a:off x="4776334" y="4463272"/>
              <a:ext cx="684452" cy="467750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ea typeface="微软雅黑" pitchFamily="34" charset="-122"/>
              </a:endParaRPr>
            </a:p>
          </p:txBody>
        </p:sp>
        <p:sp>
          <p:nvSpPr>
            <p:cNvPr id="33" name="椭圆 32"/>
            <p:cNvSpPr>
              <a:spLocks noChangeAspect="1"/>
            </p:cNvSpPr>
            <p:nvPr/>
          </p:nvSpPr>
          <p:spPr>
            <a:xfrm>
              <a:off x="4888500" y="4512802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2DD7FF">
                    <a:alpha val="5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ea typeface="微软雅黑" pitchFamily="34" charset="-122"/>
              </a:endParaRPr>
            </a:p>
          </p:txBody>
        </p:sp>
      </p:grpSp>
      <p:sp>
        <p:nvSpPr>
          <p:cNvPr id="34" name="TextBox 147"/>
          <p:cNvSpPr txBox="1">
            <a:spLocks noChangeArrowheads="1"/>
          </p:cNvSpPr>
          <p:nvPr/>
        </p:nvSpPr>
        <p:spPr bwMode="auto">
          <a:xfrm>
            <a:off x="3988744" y="2199587"/>
            <a:ext cx="1298232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grpSp>
        <p:nvGrpSpPr>
          <p:cNvPr id="35" name="组合 34"/>
          <p:cNvGrpSpPr>
            <a:grpSpLocks noChangeAspect="1"/>
          </p:cNvGrpSpPr>
          <p:nvPr/>
        </p:nvGrpSpPr>
        <p:grpSpPr bwMode="auto">
          <a:xfrm>
            <a:off x="6211889" y="1676400"/>
            <a:ext cx="1368424" cy="1368425"/>
            <a:chOff x="4776334" y="4404802"/>
            <a:chExt cx="1012165" cy="1008001"/>
          </a:xfrm>
        </p:grpSpPr>
        <p:sp>
          <p:nvSpPr>
            <p:cNvPr id="36" name="Oval 2"/>
            <p:cNvSpPr>
              <a:spLocks noChangeAspect="1" noChangeArrowheads="1"/>
            </p:cNvSpPr>
            <p:nvPr/>
          </p:nvSpPr>
          <p:spPr bwMode="auto">
            <a:xfrm>
              <a:off x="4780499" y="4404802"/>
              <a:ext cx="1008000" cy="1008001"/>
            </a:xfrm>
            <a:prstGeom prst="ellipse">
              <a:avLst/>
            </a:prstGeom>
            <a:gradFill flip="none" rotWithShape="1">
              <a:gsLst>
                <a:gs pos="0">
                  <a:srgbClr val="00DFF6"/>
                </a:gs>
                <a:gs pos="90000">
                  <a:srgbClr val="002774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7" name="椭圆 36"/>
            <p:cNvSpPr>
              <a:spLocks/>
            </p:cNvSpPr>
            <p:nvPr/>
          </p:nvSpPr>
          <p:spPr>
            <a:xfrm rot="19388639">
              <a:off x="4776334" y="4463272"/>
              <a:ext cx="684562" cy="467750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ea typeface="微软雅黑" pitchFamily="34" charset="-122"/>
              </a:endParaRPr>
            </a:p>
          </p:txBody>
        </p:sp>
        <p:sp>
          <p:nvSpPr>
            <p:cNvPr id="38" name="椭圆 37"/>
            <p:cNvSpPr>
              <a:spLocks noChangeAspect="1"/>
            </p:cNvSpPr>
            <p:nvPr/>
          </p:nvSpPr>
          <p:spPr>
            <a:xfrm>
              <a:off x="4888499" y="4512802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2DD7FF">
                    <a:alpha val="5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ea typeface="微软雅黑" pitchFamily="34" charset="-122"/>
              </a:endParaRPr>
            </a:p>
          </p:txBody>
        </p:sp>
      </p:grpSp>
      <p:sp>
        <p:nvSpPr>
          <p:cNvPr id="39" name="TextBox 147"/>
          <p:cNvSpPr txBox="1">
            <a:spLocks noChangeArrowheads="1"/>
          </p:cNvSpPr>
          <p:nvPr/>
        </p:nvSpPr>
        <p:spPr bwMode="auto">
          <a:xfrm>
            <a:off x="6282471" y="2199587"/>
            <a:ext cx="1227709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grpSp>
        <p:nvGrpSpPr>
          <p:cNvPr id="40" name="组合 34"/>
          <p:cNvGrpSpPr>
            <a:grpSpLocks noChangeAspect="1"/>
          </p:cNvGrpSpPr>
          <p:nvPr/>
        </p:nvGrpSpPr>
        <p:grpSpPr bwMode="auto">
          <a:xfrm>
            <a:off x="1693863" y="1676402"/>
            <a:ext cx="1368425" cy="1368425"/>
            <a:chOff x="4776332" y="4404803"/>
            <a:chExt cx="1012163" cy="1008001"/>
          </a:xfrm>
        </p:grpSpPr>
        <p:sp>
          <p:nvSpPr>
            <p:cNvPr id="41" name="Oval 2"/>
            <p:cNvSpPr>
              <a:spLocks noChangeAspect="1" noChangeArrowheads="1"/>
            </p:cNvSpPr>
            <p:nvPr/>
          </p:nvSpPr>
          <p:spPr bwMode="auto">
            <a:xfrm>
              <a:off x="4780496" y="4404803"/>
              <a:ext cx="1007999" cy="1008001"/>
            </a:xfrm>
            <a:prstGeom prst="ellipse">
              <a:avLst/>
            </a:prstGeom>
            <a:gradFill flip="none" rotWithShape="1">
              <a:gsLst>
                <a:gs pos="0">
                  <a:srgbClr val="00DFF6"/>
                </a:gs>
                <a:gs pos="90000">
                  <a:srgbClr val="002774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2" name="椭圆 41"/>
            <p:cNvSpPr>
              <a:spLocks/>
            </p:cNvSpPr>
            <p:nvPr/>
          </p:nvSpPr>
          <p:spPr>
            <a:xfrm rot="19388639">
              <a:off x="4776332" y="4463272"/>
              <a:ext cx="684560" cy="467750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ea typeface="微软雅黑" pitchFamily="34" charset="-122"/>
              </a:endParaRPr>
            </a:p>
          </p:txBody>
        </p:sp>
        <p:sp>
          <p:nvSpPr>
            <p:cNvPr id="43" name="椭圆 42"/>
            <p:cNvSpPr>
              <a:spLocks noChangeAspect="1"/>
            </p:cNvSpPr>
            <p:nvPr/>
          </p:nvSpPr>
          <p:spPr>
            <a:xfrm>
              <a:off x="4888498" y="4512802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2DD7FF">
                    <a:alpha val="5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ea typeface="微软雅黑" pitchFamily="34" charset="-122"/>
              </a:endParaRPr>
            </a:p>
          </p:txBody>
        </p:sp>
      </p:grpSp>
      <p:sp>
        <p:nvSpPr>
          <p:cNvPr id="44" name="TextBox 147"/>
          <p:cNvSpPr txBox="1">
            <a:spLocks noChangeArrowheads="1"/>
          </p:cNvSpPr>
          <p:nvPr/>
        </p:nvSpPr>
        <p:spPr bwMode="auto">
          <a:xfrm>
            <a:off x="1772492" y="2199587"/>
            <a:ext cx="1210776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1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000"/>
                            </p:stCondLst>
                            <p:childTnLst>
                              <p:par>
                                <p:cTn id="40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500"/>
                            </p:stCondLst>
                            <p:childTnLst>
                              <p:par>
                                <p:cTn id="47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4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500"/>
                            </p:stCondLst>
                            <p:childTnLst>
                              <p:par>
                                <p:cTn id="51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5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6000"/>
                            </p:stCondLst>
                            <p:childTnLst>
                              <p:par>
                                <p:cTn id="5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6500"/>
                            </p:stCondLst>
                            <p:childTnLst>
                              <p:par>
                                <p:cTn id="59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900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7500"/>
                            </p:stCondLst>
                            <p:childTnLst>
                              <p:par>
                                <p:cTn id="6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8000"/>
                            </p:stCondLst>
                            <p:childTnLst>
                              <p:par>
                                <p:cTn id="70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900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9500"/>
                            </p:stCondLst>
                            <p:childTnLst>
                              <p:par>
                                <p:cTn id="81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900" decel="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/>
      <p:bldP spid="18" grpId="0" animBg="1"/>
      <p:bldP spid="19" grpId="0" animBg="1"/>
      <p:bldP spid="20" grpId="0" animBg="1"/>
      <p:bldP spid="34" grpId="0"/>
      <p:bldP spid="39" grpId="0"/>
      <p:bldP spid="4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左箭头 123"/>
          <p:cNvSpPr/>
          <p:nvPr/>
        </p:nvSpPr>
        <p:spPr>
          <a:xfrm flipH="1">
            <a:off x="6058896" y="1505476"/>
            <a:ext cx="2491650" cy="2313675"/>
          </a:xfrm>
          <a:prstGeom prst="leftArrow">
            <a:avLst>
              <a:gd name="adj1" fmla="val 70395"/>
              <a:gd name="adj2" fmla="val 30068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>
              <a:rot lat="17073600" lon="0" rev="0"/>
            </a:camera>
            <a:lightRig rig="flat" dir="t"/>
          </a:scene3d>
          <a:sp3d extrusionH="1016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5" name="椭圆 124"/>
          <p:cNvSpPr/>
          <p:nvPr/>
        </p:nvSpPr>
        <p:spPr bwMode="auto">
          <a:xfrm>
            <a:off x="6257637" y="1219200"/>
            <a:ext cx="1779750" cy="177975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>
              <a:rot lat="17399997" lon="0" rev="0"/>
            </a:camera>
            <a:lightRig rig="flat" dir="t"/>
          </a:scene3d>
          <a:sp3d extrusionH="127000">
            <a:bevelT w="254000" h="254000" prst="artDeco"/>
            <a:extrusionClr>
              <a:schemeClr val="bg1">
                <a:lumMod val="85000"/>
              </a:schemeClr>
            </a:extrusionClr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5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6" name="TextBox 125"/>
          <p:cNvSpPr txBox="1"/>
          <p:nvPr/>
        </p:nvSpPr>
        <p:spPr bwMode="auto">
          <a:xfrm>
            <a:off x="6246569" y="1963978"/>
            <a:ext cx="1755530" cy="334745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129" name="矩形 128"/>
          <p:cNvSpPr/>
          <p:nvPr/>
        </p:nvSpPr>
        <p:spPr bwMode="auto">
          <a:xfrm>
            <a:off x="6234340" y="2994851"/>
            <a:ext cx="1601775" cy="1958791"/>
          </a:xfrm>
          <a:prstGeom prst="rect">
            <a:avLst/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6347839" y="3444016"/>
            <a:ext cx="1414246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点击添加文</a:t>
            </a:r>
            <a:r>
              <a:rPr lang="zh-CN" altLang="en-US" sz="1400" spc="50" dirty="0" smtClean="0">
                <a:ln w="11430"/>
                <a:latin typeface="微软雅黑" pitchFamily="34" charset="-122"/>
                <a:ea typeface="微软雅黑" pitchFamily="34" charset="-122"/>
              </a:rPr>
              <a:t>本</a:t>
            </a:r>
            <a:endParaRPr lang="en-US" altLang="zh-CN" sz="1400" spc="50" dirty="0" smtClean="0">
              <a:ln w="11430"/>
              <a:latin typeface="微软雅黑" pitchFamily="34" charset="-122"/>
              <a:ea typeface="微软雅黑" pitchFamily="34" charset="-122"/>
            </a:endParaRPr>
          </a:p>
          <a:p>
            <a:pPr marL="0" lvl="2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 smtClean="0">
                <a:ln w="11430"/>
                <a:latin typeface="微软雅黑" pitchFamily="34" charset="-122"/>
                <a:ea typeface="微软雅黑" pitchFamily="34" charset="-122"/>
              </a:rPr>
              <a:t>点击添加文本点击添加文本</a:t>
            </a:r>
          </a:p>
        </p:txBody>
      </p:sp>
      <p:sp>
        <p:nvSpPr>
          <p:cNvPr id="121" name="左箭头 120"/>
          <p:cNvSpPr/>
          <p:nvPr/>
        </p:nvSpPr>
        <p:spPr>
          <a:xfrm flipH="1">
            <a:off x="3486648" y="1875570"/>
            <a:ext cx="2491650" cy="2313675"/>
          </a:xfrm>
          <a:prstGeom prst="leftArrow">
            <a:avLst>
              <a:gd name="adj1" fmla="val 70395"/>
              <a:gd name="adj2" fmla="val 30068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>
              <a:rot lat="17073600" lon="0" rev="0"/>
            </a:camera>
            <a:lightRig rig="flat" dir="t"/>
          </a:scene3d>
          <a:sp3d extrusionH="1016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2" name="椭圆 121"/>
          <p:cNvSpPr/>
          <p:nvPr/>
        </p:nvSpPr>
        <p:spPr bwMode="auto">
          <a:xfrm>
            <a:off x="3655532" y="1633714"/>
            <a:ext cx="1779750" cy="1779750"/>
          </a:xfrm>
          <a:prstGeom prst="ellipse">
            <a:avLst/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 w="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>
              <a:rot lat="17399997" lon="0" rev="0"/>
            </a:camera>
            <a:lightRig rig="flat" dir="t"/>
          </a:scene3d>
          <a:sp3d extrusionH="127000">
            <a:bevelT w="254000" h="254000" prst="artDeco"/>
            <a:extrusionClr>
              <a:schemeClr val="bg1">
                <a:lumMod val="85000"/>
              </a:schemeClr>
            </a:extrusionClr>
            <a:contourClr>
              <a:srgbClr val="AFEAFF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5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3" name="TextBox 122"/>
          <p:cNvSpPr txBox="1"/>
          <p:nvPr/>
        </p:nvSpPr>
        <p:spPr bwMode="auto">
          <a:xfrm>
            <a:off x="3667643" y="2347576"/>
            <a:ext cx="1755530" cy="334745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128" name="矩形 127"/>
          <p:cNvSpPr/>
          <p:nvPr/>
        </p:nvSpPr>
        <p:spPr bwMode="auto">
          <a:xfrm>
            <a:off x="3664754" y="3363634"/>
            <a:ext cx="1601775" cy="1958791"/>
          </a:xfrm>
          <a:prstGeom prst="rect">
            <a:avLst/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3747252" y="3804743"/>
            <a:ext cx="1414246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点击添加文</a:t>
            </a:r>
            <a:r>
              <a:rPr lang="zh-CN" altLang="en-US" sz="1400" spc="50" dirty="0" smtClean="0">
                <a:ln w="11430"/>
                <a:latin typeface="微软雅黑" pitchFamily="34" charset="-122"/>
                <a:ea typeface="微软雅黑" pitchFamily="34" charset="-122"/>
              </a:rPr>
              <a:t>本</a:t>
            </a:r>
            <a:endParaRPr lang="en-US" altLang="zh-CN" sz="1400" spc="50" dirty="0" smtClean="0">
              <a:ln w="11430"/>
              <a:latin typeface="微软雅黑" pitchFamily="34" charset="-122"/>
              <a:ea typeface="微软雅黑" pitchFamily="34" charset="-122"/>
            </a:endParaRPr>
          </a:p>
          <a:p>
            <a:pPr marL="0" lvl="2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 smtClean="0">
                <a:ln w="11430"/>
                <a:latin typeface="微软雅黑" pitchFamily="34" charset="-122"/>
                <a:ea typeface="微软雅黑" pitchFamily="34" charset="-122"/>
              </a:rPr>
              <a:t>点击添加文本点击添加文本</a:t>
            </a:r>
          </a:p>
        </p:txBody>
      </p:sp>
      <p:sp>
        <p:nvSpPr>
          <p:cNvPr id="118" name="左箭头 117"/>
          <p:cNvSpPr/>
          <p:nvPr/>
        </p:nvSpPr>
        <p:spPr>
          <a:xfrm flipH="1">
            <a:off x="914400" y="2254927"/>
            <a:ext cx="2491650" cy="2313675"/>
          </a:xfrm>
          <a:prstGeom prst="leftArrow">
            <a:avLst>
              <a:gd name="adj1" fmla="val 70395"/>
              <a:gd name="adj2" fmla="val 30068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>
              <a:rot lat="17073600" lon="0" rev="0"/>
            </a:camera>
            <a:lightRig rig="flat" dir="t"/>
          </a:scene3d>
          <a:sp3d extrusionH="1016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9" name="椭圆 118"/>
          <p:cNvSpPr/>
          <p:nvPr/>
        </p:nvSpPr>
        <p:spPr bwMode="auto">
          <a:xfrm>
            <a:off x="1077337" y="2038469"/>
            <a:ext cx="1779750" cy="1779750"/>
          </a:xfrm>
          <a:prstGeom prst="ellipse">
            <a:avLst/>
          </a:prstGeom>
          <a:gradFill flip="none" rotWithShape="1">
            <a:gsLst>
              <a:gs pos="0">
                <a:srgbClr val="6EFF01"/>
              </a:gs>
              <a:gs pos="90000">
                <a:srgbClr val="0F5000"/>
              </a:gs>
            </a:gsLst>
            <a:lin ang="2700000" scaled="1"/>
            <a:tileRect/>
          </a:gradFill>
          <a:ln w="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>
              <a:rot lat="17399997" lon="0" rev="0"/>
            </a:camera>
            <a:lightRig rig="flat" dir="t"/>
          </a:scene3d>
          <a:sp3d extrusionH="127000">
            <a:bevelT w="254000" h="254000" prst="artDeco"/>
            <a:extrusionClr>
              <a:schemeClr val="bg1">
                <a:lumMod val="85000"/>
              </a:schemeClr>
            </a:extrusionClr>
            <a:contourClr>
              <a:srgbClr val="89FF8C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5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0" name="TextBox 119"/>
          <p:cNvSpPr txBox="1"/>
          <p:nvPr/>
        </p:nvSpPr>
        <p:spPr bwMode="auto">
          <a:xfrm>
            <a:off x="1089447" y="2715034"/>
            <a:ext cx="1755530" cy="334745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127" name="矩形 126"/>
          <p:cNvSpPr/>
          <p:nvPr/>
        </p:nvSpPr>
        <p:spPr bwMode="auto">
          <a:xfrm>
            <a:off x="1095171" y="3756209"/>
            <a:ext cx="1601775" cy="1958791"/>
          </a:xfrm>
          <a:prstGeom prst="rect">
            <a:avLst/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0" name="矩形 129"/>
          <p:cNvSpPr/>
          <p:nvPr/>
        </p:nvSpPr>
        <p:spPr>
          <a:xfrm>
            <a:off x="1175327" y="4195713"/>
            <a:ext cx="1414246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点击添加文</a:t>
            </a:r>
            <a:r>
              <a:rPr lang="zh-CN" altLang="en-US" sz="1400" spc="50" dirty="0" smtClean="0">
                <a:ln w="11430"/>
                <a:latin typeface="微软雅黑" pitchFamily="34" charset="-122"/>
                <a:ea typeface="微软雅黑" pitchFamily="34" charset="-122"/>
              </a:rPr>
              <a:t>本</a:t>
            </a:r>
            <a:endParaRPr lang="en-US" altLang="zh-CN" sz="1400" spc="50" dirty="0" smtClean="0">
              <a:ln w="11430"/>
              <a:latin typeface="微软雅黑" pitchFamily="34" charset="-122"/>
              <a:ea typeface="微软雅黑" pitchFamily="34" charset="-122"/>
            </a:endParaRPr>
          </a:p>
          <a:p>
            <a:pPr marL="0" lvl="2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 smtClean="0">
                <a:ln w="11430"/>
                <a:latin typeface="微软雅黑" pitchFamily="34" charset="-122"/>
                <a:ea typeface="微软雅黑" pitchFamily="34" charset="-122"/>
              </a:rPr>
              <a:t>点击添加文本点击添加文本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2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1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5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4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500"/>
                            </p:stCondLst>
                            <p:childTnLst>
                              <p:par>
                                <p:cTn id="36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0"/>
                            </p:stCondLst>
                            <p:childTnLst>
                              <p:par>
                                <p:cTn id="41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43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500"/>
                            </p:stCondLst>
                            <p:childTnLst>
                              <p:par>
                                <p:cTn id="4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0"/>
                            </p:stCondLst>
                            <p:childTnLst>
                              <p:par>
                                <p:cTn id="49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500"/>
                            </p:stCondLst>
                            <p:childTnLst>
                              <p:par>
                                <p:cTn id="5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6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6000"/>
                            </p:stCondLst>
                            <p:childTnLst>
                              <p:par>
                                <p:cTn id="58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6500"/>
                            </p:stCondLst>
                            <p:childTnLst>
                              <p:par>
                                <p:cTn id="63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65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7000"/>
                            </p:stCondLst>
                            <p:childTnLst>
                              <p:par>
                                <p:cTn id="6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4" grpId="0" animBg="1"/>
      <p:bldP spid="125" grpId="0" animBg="1"/>
      <p:bldP spid="126" grpId="0"/>
      <p:bldP spid="129" grpId="0" animBg="1"/>
      <p:bldP spid="30" grpId="0"/>
      <p:bldP spid="121" grpId="0" animBg="1"/>
      <p:bldP spid="122" grpId="0" animBg="1"/>
      <p:bldP spid="123" grpId="0"/>
      <p:bldP spid="128" grpId="0" animBg="1"/>
      <p:bldP spid="29" grpId="0"/>
      <p:bldP spid="118" grpId="0" animBg="1"/>
      <p:bldP spid="119" grpId="0" animBg="1"/>
      <p:bldP spid="120" grpId="0"/>
      <p:bldP spid="127" grpId="0" animBg="1"/>
      <p:bldP spid="13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AutoShape 207"/>
          <p:cNvSpPr>
            <a:spLocks noChangeArrowheads="1"/>
          </p:cNvSpPr>
          <p:nvPr/>
        </p:nvSpPr>
        <p:spPr bwMode="auto">
          <a:xfrm>
            <a:off x="2689068" y="1842234"/>
            <a:ext cx="5509211" cy="3818634"/>
          </a:xfrm>
          <a:prstGeom prst="roundRect">
            <a:avLst>
              <a:gd name="adj" fmla="val 4171"/>
            </a:avLst>
          </a:prstGeom>
          <a:solidFill>
            <a:srgbClr val="FFFFFF">
              <a:alpha val="25000"/>
            </a:srgbClr>
          </a:solidFill>
          <a:ln w="19050" cmpd="sng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48" name="组合 147"/>
          <p:cNvGrpSpPr/>
          <p:nvPr/>
        </p:nvGrpSpPr>
        <p:grpSpPr>
          <a:xfrm>
            <a:off x="2784292" y="4846632"/>
            <a:ext cx="5335323" cy="756100"/>
            <a:chOff x="2784292" y="4846632"/>
            <a:chExt cx="5335323" cy="756100"/>
          </a:xfrm>
        </p:grpSpPr>
        <p:sp>
          <p:nvSpPr>
            <p:cNvPr id="149" name="AutoShape 218"/>
            <p:cNvSpPr>
              <a:spLocks noChangeArrowheads="1"/>
            </p:cNvSpPr>
            <p:nvPr/>
          </p:nvSpPr>
          <p:spPr bwMode="auto">
            <a:xfrm>
              <a:off x="2958180" y="5323959"/>
              <a:ext cx="5048270" cy="278773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000000">
                    <a:alpha val="50000"/>
                  </a:srgbClr>
                </a:gs>
                <a:gs pos="100000">
                  <a:srgbClr val="6C6C6C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0" name="AutoShape 181"/>
            <p:cNvSpPr>
              <a:spLocks noChangeArrowheads="1"/>
            </p:cNvSpPr>
            <p:nvPr/>
          </p:nvSpPr>
          <p:spPr bwMode="auto">
            <a:xfrm>
              <a:off x="2784292" y="4846632"/>
              <a:ext cx="5335323" cy="626549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C44732">
                    <a:shade val="51000"/>
                    <a:satMod val="130000"/>
                  </a:srgbClr>
                </a:gs>
                <a:gs pos="80000">
                  <a:srgbClr val="C44732">
                    <a:shade val="93000"/>
                    <a:satMod val="130000"/>
                  </a:srgbClr>
                </a:gs>
                <a:gs pos="100000">
                  <a:srgbClr val="C44732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grpSp>
        <p:nvGrpSpPr>
          <p:cNvPr id="151" name="组合 150"/>
          <p:cNvGrpSpPr/>
          <p:nvPr/>
        </p:nvGrpSpPr>
        <p:grpSpPr>
          <a:xfrm>
            <a:off x="2784292" y="2969746"/>
            <a:ext cx="5335323" cy="779736"/>
            <a:chOff x="2784292" y="2969746"/>
            <a:chExt cx="5335323" cy="779736"/>
          </a:xfrm>
        </p:grpSpPr>
        <p:sp>
          <p:nvSpPr>
            <p:cNvPr id="152" name="AutoShape 213"/>
            <p:cNvSpPr>
              <a:spLocks noChangeArrowheads="1"/>
            </p:cNvSpPr>
            <p:nvPr/>
          </p:nvSpPr>
          <p:spPr bwMode="auto">
            <a:xfrm>
              <a:off x="2998202" y="3470709"/>
              <a:ext cx="5048270" cy="278773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000000">
                    <a:alpha val="50000"/>
                  </a:srgbClr>
                </a:gs>
                <a:gs pos="100000">
                  <a:srgbClr val="6C6C6C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3" name="AutoShape 182"/>
            <p:cNvSpPr>
              <a:spLocks noChangeArrowheads="1"/>
            </p:cNvSpPr>
            <p:nvPr/>
          </p:nvSpPr>
          <p:spPr bwMode="auto">
            <a:xfrm>
              <a:off x="2784292" y="2969746"/>
              <a:ext cx="5335323" cy="626549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C000">
                    <a:shade val="51000"/>
                    <a:satMod val="130000"/>
                  </a:srgbClr>
                </a:gs>
                <a:gs pos="80000">
                  <a:srgbClr val="FFC000">
                    <a:shade val="93000"/>
                    <a:satMod val="130000"/>
                  </a:srgbClr>
                </a:gs>
                <a:gs pos="100000">
                  <a:srgbClr val="FFC000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grpSp>
        <p:nvGrpSpPr>
          <p:cNvPr id="154" name="组合 153"/>
          <p:cNvGrpSpPr/>
          <p:nvPr/>
        </p:nvGrpSpPr>
        <p:grpSpPr>
          <a:xfrm>
            <a:off x="2784292" y="3908189"/>
            <a:ext cx="5335323" cy="768695"/>
            <a:chOff x="2784292" y="3908189"/>
            <a:chExt cx="5335323" cy="768695"/>
          </a:xfrm>
        </p:grpSpPr>
        <p:sp>
          <p:nvSpPr>
            <p:cNvPr id="155" name="AutoShape 217"/>
            <p:cNvSpPr>
              <a:spLocks noChangeArrowheads="1"/>
            </p:cNvSpPr>
            <p:nvPr/>
          </p:nvSpPr>
          <p:spPr bwMode="auto">
            <a:xfrm>
              <a:off x="2873997" y="4398111"/>
              <a:ext cx="5048270" cy="278773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000000">
                    <a:alpha val="50000"/>
                  </a:srgbClr>
                </a:gs>
                <a:gs pos="100000">
                  <a:srgbClr val="6C6C6C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6" name="AutoShape 183"/>
            <p:cNvSpPr>
              <a:spLocks noChangeArrowheads="1"/>
            </p:cNvSpPr>
            <p:nvPr/>
          </p:nvSpPr>
          <p:spPr bwMode="auto">
            <a:xfrm>
              <a:off x="2784292" y="3908189"/>
              <a:ext cx="5335323" cy="626549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sp>
        <p:nvSpPr>
          <p:cNvPr id="157" name="AutoShape 132"/>
          <p:cNvSpPr>
            <a:spLocks noChangeArrowheads="1"/>
          </p:cNvSpPr>
          <p:nvPr/>
        </p:nvSpPr>
        <p:spPr bwMode="auto">
          <a:xfrm>
            <a:off x="874285" y="1637773"/>
            <a:ext cx="1752680" cy="4148681"/>
          </a:xfrm>
          <a:prstGeom prst="upArrow">
            <a:avLst>
              <a:gd name="adj1" fmla="val 66296"/>
              <a:gd name="adj2" fmla="val 58426"/>
            </a:avLst>
          </a:prstGeom>
          <a:gradFill rotWithShape="1">
            <a:gsLst>
              <a:gs pos="0">
                <a:srgbClr val="808080">
                  <a:alpha val="50000"/>
                </a:srgbClr>
              </a:gs>
              <a:gs pos="100000">
                <a:srgbClr val="3B3B3B">
                  <a:alpha val="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58" name="组合 157"/>
          <p:cNvGrpSpPr/>
          <p:nvPr/>
        </p:nvGrpSpPr>
        <p:grpSpPr>
          <a:xfrm>
            <a:off x="1344887" y="4766588"/>
            <a:ext cx="785255" cy="788015"/>
            <a:chOff x="1344887" y="4628989"/>
            <a:chExt cx="785255" cy="788015"/>
          </a:xfrm>
        </p:grpSpPr>
        <p:sp>
          <p:nvSpPr>
            <p:cNvPr id="159" name="Oval 148"/>
            <p:cNvSpPr>
              <a:spLocks noChangeArrowheads="1"/>
            </p:cNvSpPr>
            <p:nvPr/>
          </p:nvSpPr>
          <p:spPr bwMode="auto">
            <a:xfrm>
              <a:off x="1344887" y="4628989"/>
              <a:ext cx="785255" cy="788015"/>
            </a:xfrm>
            <a:prstGeom prst="ellipse">
              <a:avLst/>
            </a:prstGeom>
            <a:gradFill rotWithShape="1">
              <a:gsLst>
                <a:gs pos="0">
                  <a:srgbClr val="FF2F00"/>
                </a:gs>
                <a:gs pos="100000">
                  <a:srgbClr val="D12700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itchFamily="34" charset="0"/>
              </a:endParaRPr>
            </a:p>
          </p:txBody>
        </p:sp>
        <p:sp>
          <p:nvSpPr>
            <p:cNvPr id="160" name="Oval 149"/>
            <p:cNvSpPr>
              <a:spLocks noChangeArrowheads="1"/>
            </p:cNvSpPr>
            <p:nvPr/>
          </p:nvSpPr>
          <p:spPr bwMode="auto">
            <a:xfrm>
              <a:off x="1622279" y="4645550"/>
              <a:ext cx="209770" cy="209770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61" name="组合 160"/>
          <p:cNvGrpSpPr/>
          <p:nvPr/>
        </p:nvGrpSpPr>
        <p:grpSpPr>
          <a:xfrm>
            <a:off x="1344887" y="3826765"/>
            <a:ext cx="785255" cy="788016"/>
            <a:chOff x="1344887" y="3689166"/>
            <a:chExt cx="785255" cy="788016"/>
          </a:xfrm>
        </p:grpSpPr>
        <p:sp>
          <p:nvSpPr>
            <p:cNvPr id="162" name="Oval 150"/>
            <p:cNvSpPr>
              <a:spLocks noChangeArrowheads="1"/>
            </p:cNvSpPr>
            <p:nvPr/>
          </p:nvSpPr>
          <p:spPr bwMode="auto">
            <a:xfrm>
              <a:off x="1344887" y="3689166"/>
              <a:ext cx="785255" cy="788016"/>
            </a:xfrm>
            <a:prstGeom prst="ellipse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696969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itchFamily="34" charset="0"/>
              </a:endParaRPr>
            </a:p>
          </p:txBody>
        </p:sp>
        <p:sp>
          <p:nvSpPr>
            <p:cNvPr id="163" name="Oval 151"/>
            <p:cNvSpPr>
              <a:spLocks noChangeArrowheads="1"/>
            </p:cNvSpPr>
            <p:nvPr/>
          </p:nvSpPr>
          <p:spPr bwMode="auto">
            <a:xfrm>
              <a:off x="1622279" y="3705727"/>
              <a:ext cx="209770" cy="209770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64" name="组合 163"/>
          <p:cNvGrpSpPr/>
          <p:nvPr/>
        </p:nvGrpSpPr>
        <p:grpSpPr>
          <a:xfrm>
            <a:off x="1344887" y="2888322"/>
            <a:ext cx="785255" cy="788016"/>
            <a:chOff x="1344887" y="2750723"/>
            <a:chExt cx="785255" cy="788016"/>
          </a:xfrm>
        </p:grpSpPr>
        <p:sp>
          <p:nvSpPr>
            <p:cNvPr id="165" name="Oval 152"/>
            <p:cNvSpPr>
              <a:spLocks noChangeArrowheads="1"/>
            </p:cNvSpPr>
            <p:nvPr/>
          </p:nvSpPr>
          <p:spPr bwMode="auto">
            <a:xfrm>
              <a:off x="1344887" y="2750723"/>
              <a:ext cx="785255" cy="788016"/>
            </a:xfrm>
            <a:prstGeom prst="ellipse">
              <a:avLst/>
            </a:prstGeom>
            <a:gradFill rotWithShape="1">
              <a:gsLst>
                <a:gs pos="0">
                  <a:srgbClr val="FFC800"/>
                </a:gs>
                <a:gs pos="100000">
                  <a:srgbClr val="D1A400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itchFamily="34" charset="0"/>
              </a:endParaRPr>
            </a:p>
          </p:txBody>
        </p:sp>
        <p:sp>
          <p:nvSpPr>
            <p:cNvPr id="166" name="Oval 153"/>
            <p:cNvSpPr>
              <a:spLocks noChangeArrowheads="1"/>
            </p:cNvSpPr>
            <p:nvPr/>
          </p:nvSpPr>
          <p:spPr bwMode="auto">
            <a:xfrm>
              <a:off x="1622279" y="2767284"/>
              <a:ext cx="209770" cy="209770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67" name="Line 186"/>
          <p:cNvSpPr>
            <a:spLocks noChangeShapeType="1"/>
          </p:cNvSpPr>
          <p:nvPr/>
        </p:nvSpPr>
        <p:spPr bwMode="auto">
          <a:xfrm flipH="1">
            <a:off x="2199145" y="3281640"/>
            <a:ext cx="1000546" cy="0"/>
          </a:xfrm>
          <a:prstGeom prst="line">
            <a:avLst/>
          </a:prstGeom>
          <a:noFill/>
          <a:ln w="31750" cap="rnd" cmpd="sng">
            <a:solidFill>
              <a:srgbClr val="333333"/>
            </a:solidFill>
            <a:prstDash val="sysDot"/>
            <a:round/>
            <a:headEnd type="oval" w="med" len="med"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68" name="Line 187"/>
          <p:cNvSpPr>
            <a:spLocks noChangeShapeType="1"/>
          </p:cNvSpPr>
          <p:nvPr/>
        </p:nvSpPr>
        <p:spPr bwMode="auto">
          <a:xfrm flipH="1">
            <a:off x="2199145" y="4221463"/>
            <a:ext cx="1000546" cy="0"/>
          </a:xfrm>
          <a:prstGeom prst="line">
            <a:avLst/>
          </a:prstGeom>
          <a:noFill/>
          <a:ln w="31750" cap="rnd" cmpd="sng">
            <a:solidFill>
              <a:srgbClr val="333333"/>
            </a:solidFill>
            <a:prstDash val="sysDot"/>
            <a:round/>
            <a:headEnd type="oval" w="med" len="med"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69" name="Line 188"/>
          <p:cNvSpPr>
            <a:spLocks noChangeShapeType="1"/>
          </p:cNvSpPr>
          <p:nvPr/>
        </p:nvSpPr>
        <p:spPr bwMode="auto">
          <a:xfrm flipH="1">
            <a:off x="2199145" y="5159905"/>
            <a:ext cx="1000546" cy="0"/>
          </a:xfrm>
          <a:prstGeom prst="line">
            <a:avLst/>
          </a:prstGeom>
          <a:noFill/>
          <a:ln w="31750" cap="rnd" cmpd="sng">
            <a:solidFill>
              <a:srgbClr val="333333"/>
            </a:solidFill>
            <a:prstDash val="sysDot"/>
            <a:round/>
            <a:headEnd type="oval" w="med" len="med"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70" name="AutoShape 208"/>
          <p:cNvSpPr>
            <a:spLocks noChangeArrowheads="1"/>
          </p:cNvSpPr>
          <p:nvPr/>
        </p:nvSpPr>
        <p:spPr bwMode="auto">
          <a:xfrm>
            <a:off x="2854676" y="1978861"/>
            <a:ext cx="5195936" cy="739714"/>
          </a:xfrm>
          <a:prstGeom prst="roundRect">
            <a:avLst>
              <a:gd name="adj" fmla="val 17352"/>
            </a:avLst>
          </a:prstGeom>
          <a:gradFill rotWithShape="1">
            <a:gsLst>
              <a:gs pos="0">
                <a:srgbClr val="FFFFFF">
                  <a:tint val="50000"/>
                  <a:satMod val="300000"/>
                </a:srgbClr>
              </a:gs>
              <a:gs pos="35000">
                <a:srgbClr val="FFFFFF">
                  <a:tint val="37000"/>
                  <a:satMod val="300000"/>
                </a:srgbClr>
              </a:gs>
              <a:gs pos="100000">
                <a:srgbClr val="FFFFFF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FFFFF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71" name="Text Box 25"/>
          <p:cNvSpPr txBox="1">
            <a:spLocks noChangeArrowheads="1"/>
          </p:cNvSpPr>
          <p:nvPr/>
        </p:nvSpPr>
        <p:spPr bwMode="auto">
          <a:xfrm>
            <a:off x="1411796" y="3100400"/>
            <a:ext cx="667801" cy="3693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dirty="0" smtClean="0">
                <a:ea typeface="黑体" pitchFamily="49" charset="-122"/>
              </a:rPr>
              <a:t>文本</a:t>
            </a:r>
            <a:endParaRPr lang="zh-CN" altLang="en-US" dirty="0">
              <a:ea typeface="黑体" pitchFamily="49" charset="-122"/>
            </a:endParaRPr>
          </a:p>
        </p:txBody>
      </p:sp>
      <p:sp>
        <p:nvSpPr>
          <p:cNvPr id="172" name="Text Box 25"/>
          <p:cNvSpPr txBox="1">
            <a:spLocks noChangeArrowheads="1"/>
          </p:cNvSpPr>
          <p:nvPr/>
        </p:nvSpPr>
        <p:spPr bwMode="auto">
          <a:xfrm>
            <a:off x="1411796" y="4052371"/>
            <a:ext cx="667801" cy="3693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黑体" pitchFamily="49" charset="-122"/>
              </a:rPr>
              <a:t>文本</a:t>
            </a: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黑体" pitchFamily="49" charset="-122"/>
            </a:endParaRPr>
          </a:p>
        </p:txBody>
      </p:sp>
      <p:sp>
        <p:nvSpPr>
          <p:cNvPr id="173" name="Text Box 25"/>
          <p:cNvSpPr txBox="1">
            <a:spLocks noChangeArrowheads="1"/>
          </p:cNvSpPr>
          <p:nvPr/>
        </p:nvSpPr>
        <p:spPr bwMode="auto">
          <a:xfrm>
            <a:off x="1411796" y="4983705"/>
            <a:ext cx="667801" cy="3693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黑体" pitchFamily="49" charset="-122"/>
              </a:rPr>
              <a:t>文本</a:t>
            </a: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黑体" pitchFamily="49" charset="-122"/>
            </a:endParaRPr>
          </a:p>
        </p:txBody>
      </p:sp>
      <p:sp>
        <p:nvSpPr>
          <p:cNvPr id="174" name="Rectangle 24"/>
          <p:cNvSpPr>
            <a:spLocks noChangeArrowheads="1"/>
          </p:cNvSpPr>
          <p:nvPr/>
        </p:nvSpPr>
        <p:spPr bwMode="black">
          <a:xfrm>
            <a:off x="3428992" y="3137971"/>
            <a:ext cx="400052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点击输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入</a:t>
            </a: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文本点击输入文本</a:t>
            </a:r>
            <a:endParaRPr kumimoji="0" lang="en-US" altLang="zh-CN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75" name="Rectangle 24"/>
          <p:cNvSpPr>
            <a:spLocks noChangeArrowheads="1"/>
          </p:cNvSpPr>
          <p:nvPr/>
        </p:nvSpPr>
        <p:spPr bwMode="black">
          <a:xfrm>
            <a:off x="3428992" y="4068247"/>
            <a:ext cx="400052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点击输入文本点击输入文本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76" name="Rectangle 24"/>
          <p:cNvSpPr>
            <a:spLocks noChangeArrowheads="1"/>
          </p:cNvSpPr>
          <p:nvPr/>
        </p:nvSpPr>
        <p:spPr bwMode="black">
          <a:xfrm>
            <a:off x="3428992" y="5009629"/>
            <a:ext cx="400052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点击输入文本点击输入文本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77" name="Text Box 25"/>
          <p:cNvSpPr txBox="1">
            <a:spLocks noChangeArrowheads="1"/>
          </p:cNvSpPr>
          <p:nvPr/>
        </p:nvSpPr>
        <p:spPr bwMode="auto">
          <a:xfrm>
            <a:off x="4597392" y="2176476"/>
            <a:ext cx="1903434" cy="3693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ea typeface="黑体" pitchFamily="49" charset="-122"/>
              </a:rPr>
              <a:t>此处添加内容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10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47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51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5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0"/>
                            </p:stCondLst>
                            <p:childTnLst>
                              <p:par>
                                <p:cTn id="57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59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000"/>
                            </p:stCondLst>
                            <p:childTnLst>
                              <p:par>
                                <p:cTn id="61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63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500"/>
                            </p:stCondLst>
                            <p:childTnLst>
                              <p:par>
                                <p:cTn id="6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7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7000"/>
                            </p:stCondLst>
                            <p:childTnLst>
                              <p:par>
                                <p:cTn id="69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1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7500"/>
                            </p:stCondLst>
                            <p:childTnLst>
                              <p:par>
                                <p:cTn id="73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5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8000"/>
                            </p:stCondLst>
                            <p:childTnLst>
                              <p:par>
                                <p:cTn id="7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9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8500"/>
                            </p:stCondLst>
                            <p:childTnLst>
                              <p:par>
                                <p:cTn id="81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83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9000"/>
                            </p:stCondLst>
                            <p:childTnLst>
                              <p:par>
                                <p:cTn id="8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9500"/>
                            </p:stCondLst>
                            <p:childTnLst>
                              <p:par>
                                <p:cTn id="9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92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7" grpId="0" animBg="1"/>
      <p:bldP spid="157" grpId="0" animBg="1"/>
      <p:bldP spid="167" grpId="0" animBg="1"/>
      <p:bldP spid="168" grpId="0" animBg="1"/>
      <p:bldP spid="169" grpId="0" animBg="1"/>
      <p:bldP spid="170" grpId="0" animBg="1"/>
      <p:bldP spid="171" grpId="0"/>
      <p:bldP spid="172" grpId="0"/>
      <p:bldP spid="173" grpId="0"/>
      <p:bldP spid="174" grpId="0"/>
      <p:bldP spid="175" grpId="0"/>
      <p:bldP spid="176" grpId="0"/>
      <p:bldP spid="17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上箭头 36"/>
          <p:cNvSpPr>
            <a:spLocks/>
          </p:cNvSpPr>
          <p:nvPr/>
        </p:nvSpPr>
        <p:spPr>
          <a:xfrm>
            <a:off x="904275" y="3341585"/>
            <a:ext cx="2160000" cy="1440000"/>
          </a:xfrm>
          <a:prstGeom prst="upArrow">
            <a:avLst>
              <a:gd name="adj1" fmla="val 73545"/>
              <a:gd name="adj2" fmla="val 49683"/>
            </a:avLst>
          </a:prstGeom>
          <a:gradFill flip="none" rotWithShape="1">
            <a:gsLst>
              <a:gs pos="0">
                <a:srgbClr val="6EFF01"/>
              </a:gs>
              <a:gs pos="90000">
                <a:srgbClr val="0F5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/>
            <a:lightRig rig="flood" dir="t"/>
          </a:scene3d>
          <a:sp3d extrusionH="304800" contourW="19050">
            <a:bevelT prst="convex"/>
            <a:bevelB w="0" h="381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indent="-363538" algn="ctr" eaLnBrk="0" fontAlgn="ctr" hangingPunct="0">
              <a:lnSpc>
                <a:spcPct val="140000"/>
              </a:lnSpc>
              <a:spcBef>
                <a:spcPct val="2000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8" name="上箭头 37"/>
          <p:cNvSpPr>
            <a:spLocks/>
          </p:cNvSpPr>
          <p:nvPr/>
        </p:nvSpPr>
        <p:spPr>
          <a:xfrm>
            <a:off x="3515525" y="2740335"/>
            <a:ext cx="2160000" cy="2160000"/>
          </a:xfrm>
          <a:prstGeom prst="upArrow">
            <a:avLst>
              <a:gd name="adj1" fmla="val 71345"/>
              <a:gd name="adj2" fmla="val 49683"/>
            </a:avLst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 fov="2700000"/>
            <a:lightRig rig="flood" dir="t"/>
          </a:scene3d>
          <a:sp3d extrusionH="304800" contourW="19050">
            <a:bevelT w="101600" prst="convex"/>
            <a:bevelB w="0" h="38100"/>
            <a:contourClr>
              <a:srgbClr val="AFEAFF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lnSpc>
                <a:spcPct val="140000"/>
              </a:lnSpc>
              <a:spcBef>
                <a:spcPct val="2000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9" name="上箭头 38"/>
          <p:cNvSpPr>
            <a:spLocks/>
          </p:cNvSpPr>
          <p:nvPr/>
        </p:nvSpPr>
        <p:spPr>
          <a:xfrm>
            <a:off x="6126776" y="2103460"/>
            <a:ext cx="2160000" cy="2880000"/>
          </a:xfrm>
          <a:prstGeom prst="upArrow">
            <a:avLst>
              <a:gd name="adj1" fmla="val 70246"/>
              <a:gd name="adj2" fmla="val 49683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 fov="2700000"/>
            <a:lightRig rig="flood" dir="t"/>
          </a:scene3d>
          <a:sp3d extrusionH="304800" contourW="19050">
            <a:bevelT w="101600" prst="convex"/>
            <a:bevelB w="0" h="381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indent="-363538" algn="ctr" defTabSz="912813" eaLnBrk="0" fontAlgn="ctr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1588600" y="5253335"/>
            <a:ext cx="6056426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20000"/>
              <a:defRPr/>
            </a:pPr>
            <a:r>
              <a:rPr lang="zh-CN" altLang="en-US" sz="2400" b="1" spc="300" dirty="0">
                <a:ln w="1270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rgbClr val="00B0F0"/>
                    </a:gs>
                    <a:gs pos="75000">
                      <a:srgbClr val="002774"/>
                    </a:gs>
                  </a:gsLst>
                  <a:lin ang="5400000"/>
                </a:gradFill>
                <a:effectLst>
                  <a:glow rad="45500">
                    <a:srgbClr val="00B0F0">
                      <a:alpha val="35000"/>
                    </a:srgbClr>
                  </a:glow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41" name="TextBox 10"/>
          <p:cNvSpPr txBox="1">
            <a:spLocks noChangeArrowheads="1"/>
          </p:cNvSpPr>
          <p:nvPr/>
        </p:nvSpPr>
        <p:spPr bwMode="auto">
          <a:xfrm>
            <a:off x="6637701" y="4045471"/>
            <a:ext cx="1138237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fontAlgn="ctr" hangingPunct="0">
              <a:buClr>
                <a:srgbClr val="FF0000"/>
              </a:buClr>
              <a:buSzPct val="70000"/>
            </a:pPr>
            <a:r>
              <a:rPr lang="en-US" altLang="zh-CN" sz="16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5000</a:t>
            </a:r>
            <a:r>
              <a:rPr lang="zh-CN" altLang="en-US" sz="16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元</a:t>
            </a:r>
            <a:endParaRPr lang="en-US" altLang="zh-CN" sz="16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" name="TextBox 11"/>
          <p:cNvSpPr txBox="1">
            <a:spLocks noChangeArrowheads="1"/>
          </p:cNvSpPr>
          <p:nvPr/>
        </p:nvSpPr>
        <p:spPr bwMode="auto">
          <a:xfrm>
            <a:off x="3962400" y="4045471"/>
            <a:ext cx="1262063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fontAlgn="ctr" hangingPunct="0">
              <a:buClr>
                <a:srgbClr val="FF0000"/>
              </a:buClr>
              <a:buSzPct val="70000"/>
            </a:pPr>
            <a:r>
              <a:rPr lang="en-US" altLang="zh-CN" sz="16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9000</a:t>
            </a:r>
            <a:r>
              <a:rPr lang="zh-CN" altLang="en-US" sz="16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元</a:t>
            </a:r>
            <a:endParaRPr lang="en-US" altLang="zh-CN" sz="16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3" name="TextBox 12"/>
          <p:cNvSpPr txBox="1">
            <a:spLocks noChangeArrowheads="1"/>
          </p:cNvSpPr>
          <p:nvPr/>
        </p:nvSpPr>
        <p:spPr bwMode="auto">
          <a:xfrm>
            <a:off x="1311638" y="4045471"/>
            <a:ext cx="1346200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fontAlgn="ctr" hangingPunct="0">
              <a:buClr>
                <a:srgbClr val="FF0000"/>
              </a:buClr>
              <a:buSzPct val="70000"/>
            </a:pPr>
            <a:r>
              <a:rPr lang="en-US" altLang="zh-CN" sz="16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5000</a:t>
            </a:r>
            <a:r>
              <a:rPr lang="zh-CN" altLang="en-US" sz="16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元</a:t>
            </a:r>
            <a:endParaRPr lang="en-US" altLang="zh-CN" sz="16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" name="矩形 43"/>
          <p:cNvSpPr/>
          <p:nvPr/>
        </p:nvSpPr>
        <p:spPr bwMode="auto">
          <a:xfrm>
            <a:off x="1174275" y="2719563"/>
            <a:ext cx="1620000" cy="900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5" name="矩形 44"/>
          <p:cNvSpPr/>
          <p:nvPr/>
        </p:nvSpPr>
        <p:spPr bwMode="auto">
          <a:xfrm>
            <a:off x="3785525" y="2268302"/>
            <a:ext cx="1620000" cy="900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6" name="矩形 45"/>
          <p:cNvSpPr/>
          <p:nvPr/>
        </p:nvSpPr>
        <p:spPr bwMode="auto">
          <a:xfrm>
            <a:off x="6396776" y="1805164"/>
            <a:ext cx="1620000" cy="900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1192576" y="2907234"/>
            <a:ext cx="1584325" cy="5238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 spc="50" dirty="0">
              <a:ln w="11430"/>
              <a:latin typeface="微软雅黑" pitchFamily="34" charset="-122"/>
              <a:ea typeface="微软雅黑" pitchFamily="34" charset="-122"/>
            </a:endParaRPr>
          </a:p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48" name="矩形 47"/>
          <p:cNvSpPr/>
          <p:nvPr/>
        </p:nvSpPr>
        <p:spPr>
          <a:xfrm>
            <a:off x="3857988" y="2456384"/>
            <a:ext cx="1474788" cy="5238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 spc="50" dirty="0">
              <a:ln w="11430"/>
              <a:latin typeface="微软雅黑" pitchFamily="34" charset="-122"/>
              <a:ea typeface="微软雅黑" pitchFamily="34" charset="-122"/>
            </a:endParaRPr>
          </a:p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49" name="矩形 48"/>
          <p:cNvSpPr/>
          <p:nvPr/>
        </p:nvSpPr>
        <p:spPr>
          <a:xfrm>
            <a:off x="6436088" y="1992834"/>
            <a:ext cx="1541463" cy="5238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 spc="50" dirty="0">
              <a:ln w="11430"/>
              <a:latin typeface="微软雅黑" pitchFamily="34" charset="-122"/>
              <a:ea typeface="微软雅黑" pitchFamily="34" charset="-122"/>
            </a:endParaRPr>
          </a:p>
          <a:p>
            <a:pPr marL="0" lvl="2" algn="ctr" defTabSz="912813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900" decel="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000"/>
                            </p:stCondLst>
                            <p:childTnLst>
                              <p:par>
                                <p:cTn id="3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000"/>
                            </p:stCondLst>
                            <p:childTnLst>
                              <p:par>
                                <p:cTn id="40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900" decel="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0"/>
                            </p:stCondLst>
                            <p:childTnLst>
                              <p:par>
                                <p:cTn id="4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500"/>
                            </p:stCondLst>
                            <p:childTnLst>
                              <p:par>
                                <p:cTn id="5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6000"/>
                            </p:stCondLst>
                            <p:childTnLst>
                              <p:par>
                                <p:cTn id="5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500"/>
                            </p:stCondLst>
                            <p:childTnLst>
                              <p:par>
                                <p:cTn id="61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900" decel="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7500"/>
                            </p:stCondLst>
                            <p:childTnLst>
                              <p:par>
                                <p:cTn id="68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38" grpId="0" animBg="1"/>
      <p:bldP spid="39" grpId="0" animBg="1"/>
      <p:bldP spid="40" grpId="0"/>
      <p:bldP spid="41" grpId="0"/>
      <p:bldP spid="42" grpId="0"/>
      <p:bldP spid="43" grpId="0"/>
      <p:bldP spid="44" grpId="0" animBg="1"/>
      <p:bldP spid="45" grpId="0" animBg="1"/>
      <p:bldP spid="46" grpId="0" animBg="1"/>
      <p:bldP spid="47" grpId="0"/>
      <p:bldP spid="48" grpId="0"/>
      <p:bldP spid="4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Text Box 3"/>
          <p:cNvSpPr txBox="1">
            <a:spLocks noChangeArrowheads="1"/>
          </p:cNvSpPr>
          <p:nvPr/>
        </p:nvSpPr>
        <p:spPr bwMode="auto">
          <a:xfrm>
            <a:off x="6401227" y="2854092"/>
            <a:ext cx="2056973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l" eaLnBrk="0" hangingPunct="0"/>
            <a:r>
              <a:rPr lang="en-US" sz="1400" dirty="0">
                <a:ea typeface="宋体" pitchFamily="2" charset="-122"/>
              </a:rPr>
              <a:t>20</a:t>
            </a:r>
            <a:r>
              <a:rPr lang="zh-CN" altLang="en-US" sz="1400" dirty="0" smtClean="0">
                <a:ea typeface="宋体" pitchFamily="2" charset="-122"/>
              </a:rPr>
              <a:t>1</a:t>
            </a:r>
            <a:r>
              <a:rPr lang="en-US" altLang="zh-CN" sz="1400" dirty="0" smtClean="0">
                <a:ea typeface="宋体" pitchFamily="2" charset="-122"/>
              </a:rPr>
              <a:t>2</a:t>
            </a:r>
            <a:r>
              <a:rPr lang="en-US" sz="1400" dirty="0" smtClean="0">
                <a:ea typeface="宋体" pitchFamily="2" charset="-122"/>
              </a:rPr>
              <a:t>.10   </a:t>
            </a:r>
            <a:r>
              <a:rPr lang="zh-CN" altLang="en-US" sz="1400" dirty="0">
                <a:ea typeface="宋体" pitchFamily="2" charset="-122"/>
              </a:rPr>
              <a:t>点击输入文字</a:t>
            </a:r>
          </a:p>
          <a:p>
            <a:pPr algn="l" eaLnBrk="0" hangingPunct="0"/>
            <a:r>
              <a:rPr lang="en-US" sz="1400" dirty="0">
                <a:ea typeface="宋体" pitchFamily="2" charset="-122"/>
              </a:rPr>
              <a:t>20</a:t>
            </a:r>
            <a:r>
              <a:rPr lang="zh-CN" altLang="en-US" sz="1400" dirty="0" smtClean="0">
                <a:ea typeface="宋体" pitchFamily="2" charset="-122"/>
              </a:rPr>
              <a:t>1</a:t>
            </a:r>
            <a:r>
              <a:rPr lang="en-US" altLang="zh-CN" sz="1400" dirty="0" smtClean="0">
                <a:ea typeface="宋体" pitchFamily="2" charset="-122"/>
              </a:rPr>
              <a:t>2</a:t>
            </a:r>
            <a:r>
              <a:rPr lang="en-US" sz="1400" dirty="0" smtClean="0">
                <a:ea typeface="宋体" pitchFamily="2" charset="-122"/>
              </a:rPr>
              <a:t>.10   </a:t>
            </a:r>
            <a:r>
              <a:rPr lang="zh-CN" altLang="en-US" sz="1400" dirty="0">
                <a:ea typeface="宋体" pitchFamily="2" charset="-122"/>
              </a:rPr>
              <a:t>点击输入文字</a:t>
            </a:r>
          </a:p>
          <a:p>
            <a:pPr algn="l" eaLnBrk="0" hangingPunct="0"/>
            <a:r>
              <a:rPr lang="en-US" sz="1400" dirty="0">
                <a:ea typeface="宋体" pitchFamily="2" charset="-122"/>
              </a:rPr>
              <a:t>20</a:t>
            </a:r>
            <a:r>
              <a:rPr lang="zh-CN" altLang="en-US" sz="1400" dirty="0" smtClean="0">
                <a:ea typeface="宋体" pitchFamily="2" charset="-122"/>
              </a:rPr>
              <a:t>1</a:t>
            </a:r>
            <a:r>
              <a:rPr lang="en-US" altLang="zh-CN" sz="1400" dirty="0" smtClean="0">
                <a:ea typeface="宋体" pitchFamily="2" charset="-122"/>
              </a:rPr>
              <a:t>2</a:t>
            </a:r>
            <a:r>
              <a:rPr lang="en-US" sz="1400" dirty="0" smtClean="0">
                <a:ea typeface="宋体" pitchFamily="2" charset="-122"/>
              </a:rPr>
              <a:t>.10   </a:t>
            </a:r>
            <a:r>
              <a:rPr lang="zh-CN" altLang="en-US" sz="1400" dirty="0">
                <a:ea typeface="宋体" pitchFamily="2" charset="-122"/>
              </a:rPr>
              <a:t>点击输入文字</a:t>
            </a:r>
          </a:p>
        </p:txBody>
      </p:sp>
      <p:sp>
        <p:nvSpPr>
          <p:cNvPr id="12299" name="Line 11"/>
          <p:cNvSpPr>
            <a:spLocks noChangeShapeType="1"/>
          </p:cNvSpPr>
          <p:nvPr/>
        </p:nvSpPr>
        <p:spPr bwMode="auto">
          <a:xfrm>
            <a:off x="2537252" y="3123967"/>
            <a:ext cx="641350" cy="901700"/>
          </a:xfrm>
          <a:prstGeom prst="line">
            <a:avLst/>
          </a:prstGeom>
          <a:noFill/>
          <a:ln w="57150" cap="rnd" cmpd="sng">
            <a:solidFill>
              <a:schemeClr val="folHlink"/>
            </a:solidFill>
            <a:prstDash val="sysDot"/>
            <a:round/>
            <a:headEnd/>
            <a:tailEnd/>
          </a:ln>
          <a:effectLst/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12300" name="Line 12"/>
          <p:cNvSpPr>
            <a:spLocks noChangeShapeType="1"/>
          </p:cNvSpPr>
          <p:nvPr/>
        </p:nvSpPr>
        <p:spPr bwMode="auto">
          <a:xfrm flipV="1">
            <a:off x="3889802" y="3574817"/>
            <a:ext cx="901700" cy="514350"/>
          </a:xfrm>
          <a:prstGeom prst="line">
            <a:avLst/>
          </a:prstGeom>
          <a:noFill/>
          <a:ln w="57150" cap="rnd" cmpd="sng">
            <a:solidFill>
              <a:schemeClr val="folHlink"/>
            </a:solidFill>
            <a:prstDash val="sysDot"/>
            <a:round/>
            <a:headEnd/>
            <a:tailEnd/>
          </a:ln>
          <a:effectLst/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12301" name="Line 13"/>
          <p:cNvSpPr>
            <a:spLocks noChangeShapeType="1"/>
          </p:cNvSpPr>
          <p:nvPr/>
        </p:nvSpPr>
        <p:spPr bwMode="auto">
          <a:xfrm flipV="1">
            <a:off x="5693202" y="2403242"/>
            <a:ext cx="1095375" cy="654050"/>
          </a:xfrm>
          <a:prstGeom prst="line">
            <a:avLst/>
          </a:prstGeom>
          <a:noFill/>
          <a:ln w="57150" cap="rnd" cmpd="sng">
            <a:solidFill>
              <a:schemeClr val="folHlink"/>
            </a:solidFill>
            <a:prstDash val="sysDot"/>
            <a:round/>
            <a:headEnd/>
            <a:tailEnd/>
          </a:ln>
          <a:effectLst/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12302" name="Text Box 14"/>
          <p:cNvSpPr txBox="1">
            <a:spLocks noChangeArrowheads="1"/>
          </p:cNvSpPr>
          <p:nvPr/>
        </p:nvSpPr>
        <p:spPr bwMode="auto">
          <a:xfrm>
            <a:off x="2807127" y="1777767"/>
            <a:ext cx="3476625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/>
            <a:r>
              <a:rPr lang="zh-CN" altLang="en-US" sz="2800" b="1" dirty="0">
                <a:ea typeface="宋体" pitchFamily="2" charset="-122"/>
              </a:rPr>
              <a:t>点击输入文字</a:t>
            </a:r>
          </a:p>
        </p:txBody>
      </p:sp>
      <p:sp>
        <p:nvSpPr>
          <p:cNvPr id="12303" name="Text Box 15"/>
          <p:cNvSpPr txBox="1">
            <a:spLocks noChangeArrowheads="1"/>
          </p:cNvSpPr>
          <p:nvPr/>
        </p:nvSpPr>
        <p:spPr bwMode="auto">
          <a:xfrm>
            <a:off x="2727752" y="5044842"/>
            <a:ext cx="2056973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l" eaLnBrk="0" hangingPunct="0"/>
            <a:r>
              <a:rPr lang="en-US" sz="1400" dirty="0" smtClean="0">
                <a:ea typeface="宋体" pitchFamily="2" charset="-122"/>
              </a:rPr>
              <a:t>2010.10   </a:t>
            </a:r>
            <a:r>
              <a:rPr lang="zh-CN" altLang="en-US" sz="1400" dirty="0">
                <a:ea typeface="宋体" pitchFamily="2" charset="-122"/>
              </a:rPr>
              <a:t>点击输入文字</a:t>
            </a:r>
          </a:p>
          <a:p>
            <a:pPr algn="l" eaLnBrk="0" hangingPunct="0"/>
            <a:r>
              <a:rPr lang="en-US" sz="1400" dirty="0" smtClean="0">
                <a:ea typeface="宋体" pitchFamily="2" charset="-122"/>
              </a:rPr>
              <a:t>2010.10   </a:t>
            </a:r>
            <a:r>
              <a:rPr lang="zh-CN" altLang="en-US" sz="1400" dirty="0">
                <a:ea typeface="宋体" pitchFamily="2" charset="-122"/>
              </a:rPr>
              <a:t>点击输入文字</a:t>
            </a:r>
          </a:p>
          <a:p>
            <a:pPr algn="l" eaLnBrk="0" hangingPunct="0"/>
            <a:r>
              <a:rPr lang="en-US" sz="1400" dirty="0" smtClean="0">
                <a:ea typeface="宋体" pitchFamily="2" charset="-122"/>
              </a:rPr>
              <a:t>2010.10   </a:t>
            </a:r>
            <a:r>
              <a:rPr lang="zh-CN" altLang="en-US" sz="1400" dirty="0">
                <a:ea typeface="宋体" pitchFamily="2" charset="-122"/>
              </a:rPr>
              <a:t>点击输入文字</a:t>
            </a:r>
          </a:p>
        </p:txBody>
      </p:sp>
      <p:sp>
        <p:nvSpPr>
          <p:cNvPr id="12304" name="Text Box 16"/>
          <p:cNvSpPr txBox="1">
            <a:spLocks noChangeArrowheads="1"/>
          </p:cNvSpPr>
          <p:nvPr/>
        </p:nvSpPr>
        <p:spPr bwMode="auto">
          <a:xfrm>
            <a:off x="4661327" y="4143142"/>
            <a:ext cx="2056973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l" eaLnBrk="0" hangingPunct="0"/>
            <a:r>
              <a:rPr lang="en-US" sz="1400" dirty="0" smtClean="0">
                <a:ea typeface="宋体" pitchFamily="2" charset="-122"/>
              </a:rPr>
              <a:t>2011.10   </a:t>
            </a:r>
            <a:r>
              <a:rPr lang="zh-CN" altLang="en-US" sz="1400" dirty="0">
                <a:ea typeface="宋体" pitchFamily="2" charset="-122"/>
              </a:rPr>
              <a:t>点击输入文字</a:t>
            </a:r>
          </a:p>
          <a:p>
            <a:pPr algn="l" eaLnBrk="0" hangingPunct="0"/>
            <a:r>
              <a:rPr lang="en-US" sz="1400" dirty="0" smtClean="0">
                <a:ea typeface="宋体" pitchFamily="2" charset="-122"/>
              </a:rPr>
              <a:t>2011.10   </a:t>
            </a:r>
            <a:r>
              <a:rPr lang="zh-CN" altLang="en-US" sz="1400" dirty="0">
                <a:ea typeface="宋体" pitchFamily="2" charset="-122"/>
              </a:rPr>
              <a:t>点击输入文字</a:t>
            </a:r>
          </a:p>
          <a:p>
            <a:pPr algn="l" eaLnBrk="0" hangingPunct="0"/>
            <a:r>
              <a:rPr lang="en-US" sz="1400" dirty="0" smtClean="0">
                <a:ea typeface="宋体" pitchFamily="2" charset="-122"/>
              </a:rPr>
              <a:t>2011.10   </a:t>
            </a:r>
            <a:r>
              <a:rPr lang="zh-CN" altLang="en-US" sz="1400" dirty="0">
                <a:ea typeface="宋体" pitchFamily="2" charset="-122"/>
              </a:rPr>
              <a:t>点击输入文字</a:t>
            </a:r>
          </a:p>
        </p:txBody>
      </p:sp>
      <p:sp>
        <p:nvSpPr>
          <p:cNvPr id="12305" name="Text Box 17"/>
          <p:cNvSpPr txBox="1">
            <a:spLocks noChangeArrowheads="1"/>
          </p:cNvSpPr>
          <p:nvPr/>
        </p:nvSpPr>
        <p:spPr bwMode="auto">
          <a:xfrm>
            <a:off x="781477" y="3552592"/>
            <a:ext cx="2056973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l" eaLnBrk="0" hangingPunct="0"/>
            <a:r>
              <a:rPr lang="en-US" sz="1400" dirty="0" smtClean="0">
                <a:ea typeface="宋体" pitchFamily="2" charset="-122"/>
              </a:rPr>
              <a:t>200</a:t>
            </a:r>
            <a:r>
              <a:rPr lang="en-US" altLang="zh-CN" sz="1400" dirty="0" smtClean="0">
                <a:ea typeface="宋体" pitchFamily="2" charset="-122"/>
              </a:rPr>
              <a:t>9</a:t>
            </a:r>
            <a:r>
              <a:rPr lang="en-US" sz="1400" dirty="0" smtClean="0">
                <a:ea typeface="宋体" pitchFamily="2" charset="-122"/>
              </a:rPr>
              <a:t>.10   </a:t>
            </a:r>
            <a:r>
              <a:rPr lang="zh-CN" altLang="en-US" sz="1400" dirty="0">
                <a:ea typeface="宋体" pitchFamily="2" charset="-122"/>
              </a:rPr>
              <a:t>点击输入文字</a:t>
            </a:r>
          </a:p>
          <a:p>
            <a:pPr algn="l" eaLnBrk="0" hangingPunct="0"/>
            <a:r>
              <a:rPr lang="en-US" sz="1400" dirty="0" smtClean="0">
                <a:ea typeface="宋体" pitchFamily="2" charset="-122"/>
              </a:rPr>
              <a:t>200</a:t>
            </a:r>
            <a:r>
              <a:rPr lang="en-US" altLang="zh-CN" sz="1400" dirty="0" smtClean="0">
                <a:ea typeface="宋体" pitchFamily="2" charset="-122"/>
              </a:rPr>
              <a:t>9</a:t>
            </a:r>
            <a:r>
              <a:rPr lang="en-US" sz="1400" dirty="0" smtClean="0">
                <a:ea typeface="宋体" pitchFamily="2" charset="-122"/>
              </a:rPr>
              <a:t>.10   </a:t>
            </a:r>
            <a:r>
              <a:rPr lang="zh-CN" altLang="en-US" sz="1400" dirty="0">
                <a:ea typeface="宋体" pitchFamily="2" charset="-122"/>
              </a:rPr>
              <a:t>点击输入文字</a:t>
            </a:r>
          </a:p>
          <a:p>
            <a:pPr algn="l" eaLnBrk="0" hangingPunct="0"/>
            <a:r>
              <a:rPr lang="en-US" sz="1400" dirty="0" smtClean="0">
                <a:ea typeface="宋体" pitchFamily="2" charset="-122"/>
              </a:rPr>
              <a:t>200</a:t>
            </a:r>
            <a:r>
              <a:rPr lang="en-US" altLang="zh-CN" sz="1400" dirty="0" smtClean="0">
                <a:ea typeface="宋体" pitchFamily="2" charset="-122"/>
              </a:rPr>
              <a:t>9</a:t>
            </a:r>
            <a:r>
              <a:rPr lang="en-US" sz="1400" dirty="0" smtClean="0">
                <a:ea typeface="宋体" pitchFamily="2" charset="-122"/>
              </a:rPr>
              <a:t>.10   </a:t>
            </a:r>
            <a:r>
              <a:rPr lang="zh-CN" altLang="en-US" sz="1400" dirty="0">
                <a:ea typeface="宋体" pitchFamily="2" charset="-122"/>
              </a:rPr>
              <a:t>点击输入文字</a:t>
            </a:r>
          </a:p>
        </p:txBody>
      </p:sp>
      <p:grpSp>
        <p:nvGrpSpPr>
          <p:cNvPr id="30" name="组合 50"/>
          <p:cNvGrpSpPr>
            <a:grpSpLocks noChangeAspect="1"/>
          </p:cNvGrpSpPr>
          <p:nvPr/>
        </p:nvGrpSpPr>
        <p:grpSpPr bwMode="auto">
          <a:xfrm>
            <a:off x="1740327" y="2276914"/>
            <a:ext cx="1008064" cy="1008063"/>
            <a:chOff x="4776334" y="4404802"/>
            <a:chExt cx="1012167" cy="1008000"/>
          </a:xfrm>
        </p:grpSpPr>
        <p:sp>
          <p:nvSpPr>
            <p:cNvPr id="31" name="Oval 2"/>
            <p:cNvSpPr>
              <a:spLocks noChangeAspect="1" noChangeArrowheads="1"/>
            </p:cNvSpPr>
            <p:nvPr/>
          </p:nvSpPr>
          <p:spPr bwMode="auto">
            <a:xfrm>
              <a:off x="4780501" y="4404802"/>
              <a:ext cx="1008000" cy="1008000"/>
            </a:xfrm>
            <a:prstGeom prst="ellipse">
              <a:avLst/>
            </a:prstGeom>
            <a:gradFill flip="none" rotWithShape="1">
              <a:gsLst>
                <a:gs pos="0">
                  <a:srgbClr val="00DFF6"/>
                </a:gs>
                <a:gs pos="90000">
                  <a:srgbClr val="002774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2" name="椭圆 31"/>
            <p:cNvSpPr>
              <a:spLocks/>
            </p:cNvSpPr>
            <p:nvPr/>
          </p:nvSpPr>
          <p:spPr>
            <a:xfrm rot="19388639">
              <a:off x="4776334" y="4463534"/>
              <a:ext cx="683810" cy="468283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3" name="椭圆 32"/>
            <p:cNvSpPr>
              <a:spLocks noChangeAspect="1"/>
            </p:cNvSpPr>
            <p:nvPr/>
          </p:nvSpPr>
          <p:spPr>
            <a:xfrm>
              <a:off x="4888500" y="4512800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00B0F0">
                    <a:alpha val="6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12293" name="Text Box 5"/>
          <p:cNvSpPr txBox="1">
            <a:spLocks noChangeArrowheads="1"/>
          </p:cNvSpPr>
          <p:nvPr/>
        </p:nvSpPr>
        <p:spPr bwMode="auto">
          <a:xfrm>
            <a:off x="1883639" y="2612792"/>
            <a:ext cx="6976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/>
            <a:r>
              <a:rPr lang="en-US" b="1" dirty="0" smtClean="0">
                <a:solidFill>
                  <a:srgbClr val="FFFFFF"/>
                </a:solidFill>
                <a:ea typeface="宋体" pitchFamily="2" charset="-122"/>
              </a:rPr>
              <a:t>200</a:t>
            </a:r>
            <a:r>
              <a:rPr lang="en-US" altLang="zh-CN" b="1" dirty="0" smtClean="0">
                <a:solidFill>
                  <a:srgbClr val="FFFFFF"/>
                </a:solidFill>
                <a:ea typeface="宋体" pitchFamily="2" charset="-122"/>
              </a:rPr>
              <a:t>9</a:t>
            </a:r>
            <a:endParaRPr lang="zh-CN" altLang="en-US" b="1" dirty="0">
              <a:solidFill>
                <a:srgbClr val="FFFFFF"/>
              </a:solidFill>
              <a:ea typeface="宋体" pitchFamily="2" charset="-122"/>
            </a:endParaRPr>
          </a:p>
        </p:txBody>
      </p:sp>
      <p:grpSp>
        <p:nvGrpSpPr>
          <p:cNvPr id="34" name="组合 65"/>
          <p:cNvGrpSpPr>
            <a:grpSpLocks noChangeAspect="1"/>
          </p:cNvGrpSpPr>
          <p:nvPr/>
        </p:nvGrpSpPr>
        <p:grpSpPr bwMode="auto">
          <a:xfrm>
            <a:off x="2954978" y="3884371"/>
            <a:ext cx="1008062" cy="1008063"/>
            <a:chOff x="4776334" y="4404800"/>
            <a:chExt cx="1012166" cy="1008000"/>
          </a:xfrm>
        </p:grpSpPr>
        <p:sp>
          <p:nvSpPr>
            <p:cNvPr id="35" name="Oval 2"/>
            <p:cNvSpPr>
              <a:spLocks noChangeAspect="1" noChangeArrowheads="1"/>
            </p:cNvSpPr>
            <p:nvPr/>
          </p:nvSpPr>
          <p:spPr bwMode="auto">
            <a:xfrm>
              <a:off x="4780500" y="4404800"/>
              <a:ext cx="1008000" cy="100800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6" name="椭圆 35"/>
            <p:cNvSpPr>
              <a:spLocks/>
            </p:cNvSpPr>
            <p:nvPr/>
          </p:nvSpPr>
          <p:spPr>
            <a:xfrm rot="19388639">
              <a:off x="4776334" y="4463534"/>
              <a:ext cx="683810" cy="468283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7" name="椭圆 36"/>
            <p:cNvSpPr>
              <a:spLocks noChangeAspect="1"/>
            </p:cNvSpPr>
            <p:nvPr/>
          </p:nvSpPr>
          <p:spPr>
            <a:xfrm>
              <a:off x="4888500" y="4512800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FFC000">
                    <a:alpha val="6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sp>
        <p:nvSpPr>
          <p:cNvPr id="12295" name="Text Box 7"/>
          <p:cNvSpPr txBox="1">
            <a:spLocks noChangeArrowheads="1"/>
          </p:cNvSpPr>
          <p:nvPr/>
        </p:nvSpPr>
        <p:spPr bwMode="auto">
          <a:xfrm>
            <a:off x="3096489" y="4209817"/>
            <a:ext cx="6976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/>
            <a:r>
              <a:rPr lang="en-US" b="1" dirty="0" smtClean="0">
                <a:solidFill>
                  <a:srgbClr val="FFFFFF"/>
                </a:solidFill>
                <a:ea typeface="宋体" pitchFamily="2" charset="-122"/>
              </a:rPr>
              <a:t>2010</a:t>
            </a:r>
            <a:endParaRPr lang="zh-CN" altLang="en-US" b="1" dirty="0">
              <a:solidFill>
                <a:srgbClr val="FFFFFF"/>
              </a:solidFill>
              <a:ea typeface="宋体" pitchFamily="2" charset="-122"/>
            </a:endParaRPr>
          </a:p>
        </p:txBody>
      </p:sp>
      <p:grpSp>
        <p:nvGrpSpPr>
          <p:cNvPr id="38" name="组合 55"/>
          <p:cNvGrpSpPr>
            <a:grpSpLocks noChangeAspect="1"/>
          </p:cNvGrpSpPr>
          <p:nvPr/>
        </p:nvGrpSpPr>
        <p:grpSpPr bwMode="auto">
          <a:xfrm>
            <a:off x="4747760" y="2859589"/>
            <a:ext cx="1008063" cy="1008062"/>
            <a:chOff x="4776334" y="4404800"/>
            <a:chExt cx="1012166" cy="1008000"/>
          </a:xfrm>
        </p:grpSpPr>
        <p:sp>
          <p:nvSpPr>
            <p:cNvPr id="39" name="Oval 2"/>
            <p:cNvSpPr>
              <a:spLocks noChangeAspect="1" noChangeArrowheads="1"/>
            </p:cNvSpPr>
            <p:nvPr/>
          </p:nvSpPr>
          <p:spPr bwMode="auto">
            <a:xfrm>
              <a:off x="4780500" y="4404800"/>
              <a:ext cx="1008000" cy="1008000"/>
            </a:xfrm>
            <a:prstGeom prst="ellipse">
              <a:avLst/>
            </a:prstGeom>
            <a:gradFill flip="none" rotWithShape="1">
              <a:gsLst>
                <a:gs pos="0">
                  <a:srgbClr val="6EFF01"/>
                </a:gs>
                <a:gs pos="90000">
                  <a:srgbClr val="0F5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89FF8C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0" name="椭圆 39"/>
            <p:cNvSpPr>
              <a:spLocks/>
            </p:cNvSpPr>
            <p:nvPr/>
          </p:nvSpPr>
          <p:spPr>
            <a:xfrm rot="19388639">
              <a:off x="4776334" y="4463533"/>
              <a:ext cx="683810" cy="468284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41" name="椭圆 40"/>
            <p:cNvSpPr>
              <a:spLocks noChangeAspect="1"/>
            </p:cNvSpPr>
            <p:nvPr/>
          </p:nvSpPr>
          <p:spPr>
            <a:xfrm>
              <a:off x="4888500" y="4512800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6EFF01">
                    <a:alpha val="5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sp>
        <p:nvSpPr>
          <p:cNvPr id="12297" name="Text Box 9"/>
          <p:cNvSpPr txBox="1">
            <a:spLocks noChangeArrowheads="1"/>
          </p:cNvSpPr>
          <p:nvPr/>
        </p:nvSpPr>
        <p:spPr bwMode="auto">
          <a:xfrm>
            <a:off x="4896247" y="3183622"/>
            <a:ext cx="6976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/>
            <a:r>
              <a:rPr lang="en-US" b="1" dirty="0" smtClean="0">
                <a:solidFill>
                  <a:srgbClr val="FFFFFF"/>
                </a:solidFill>
                <a:ea typeface="宋体" pitchFamily="2" charset="-122"/>
              </a:rPr>
              <a:t>2011</a:t>
            </a:r>
            <a:endParaRPr lang="zh-CN" altLang="en-US" b="1" dirty="0">
              <a:solidFill>
                <a:srgbClr val="FFFFFF"/>
              </a:solidFill>
              <a:ea typeface="宋体" pitchFamily="2" charset="-122"/>
            </a:endParaRPr>
          </a:p>
        </p:txBody>
      </p:sp>
      <p:grpSp>
        <p:nvGrpSpPr>
          <p:cNvPr id="42" name="组合 50"/>
          <p:cNvGrpSpPr>
            <a:grpSpLocks noChangeAspect="1"/>
          </p:cNvGrpSpPr>
          <p:nvPr/>
        </p:nvGrpSpPr>
        <p:grpSpPr bwMode="auto">
          <a:xfrm>
            <a:off x="6743661" y="1676400"/>
            <a:ext cx="1008064" cy="1008063"/>
            <a:chOff x="4776334" y="4404802"/>
            <a:chExt cx="1012167" cy="1008000"/>
          </a:xfrm>
        </p:grpSpPr>
        <p:sp>
          <p:nvSpPr>
            <p:cNvPr id="43" name="Oval 2"/>
            <p:cNvSpPr>
              <a:spLocks noChangeAspect="1" noChangeArrowheads="1"/>
            </p:cNvSpPr>
            <p:nvPr/>
          </p:nvSpPr>
          <p:spPr bwMode="auto">
            <a:xfrm>
              <a:off x="4780501" y="4404802"/>
              <a:ext cx="1008000" cy="1008000"/>
            </a:xfrm>
            <a:prstGeom prst="ellipse">
              <a:avLst/>
            </a:prstGeom>
            <a:gradFill flip="none" rotWithShape="1">
              <a:gsLst>
                <a:gs pos="0">
                  <a:srgbClr val="00DFF6"/>
                </a:gs>
                <a:gs pos="90000">
                  <a:srgbClr val="002774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4" name="椭圆 43"/>
            <p:cNvSpPr>
              <a:spLocks/>
            </p:cNvSpPr>
            <p:nvPr/>
          </p:nvSpPr>
          <p:spPr>
            <a:xfrm rot="19388639">
              <a:off x="4776334" y="4463534"/>
              <a:ext cx="683810" cy="468283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5" name="椭圆 44"/>
            <p:cNvSpPr>
              <a:spLocks noChangeAspect="1"/>
            </p:cNvSpPr>
            <p:nvPr/>
          </p:nvSpPr>
          <p:spPr>
            <a:xfrm>
              <a:off x="4888500" y="4512800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00B0F0">
                    <a:alpha val="6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12298" name="Text Box 10"/>
          <p:cNvSpPr txBox="1">
            <a:spLocks noChangeArrowheads="1"/>
          </p:cNvSpPr>
          <p:nvPr/>
        </p:nvSpPr>
        <p:spPr bwMode="auto">
          <a:xfrm>
            <a:off x="6890614" y="2003192"/>
            <a:ext cx="6976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/>
            <a:r>
              <a:rPr lang="en-US" b="1" dirty="0" smtClean="0">
                <a:solidFill>
                  <a:srgbClr val="FFFFFF"/>
                </a:solidFill>
                <a:ea typeface="宋体" pitchFamily="2" charset="-122"/>
              </a:rPr>
              <a:t>20</a:t>
            </a:r>
            <a:r>
              <a:rPr lang="zh-CN" altLang="en-US" b="1" dirty="0" smtClean="0">
                <a:solidFill>
                  <a:srgbClr val="FFFFFF"/>
                </a:solidFill>
                <a:ea typeface="宋体" pitchFamily="2" charset="-122"/>
              </a:rPr>
              <a:t>1</a:t>
            </a:r>
            <a:r>
              <a:rPr lang="en-US" altLang="zh-CN" b="1" dirty="0" smtClean="0">
                <a:solidFill>
                  <a:srgbClr val="FFFFFF"/>
                </a:solidFill>
                <a:ea typeface="宋体" pitchFamily="2" charset="-122"/>
              </a:rPr>
              <a:t>2</a:t>
            </a:r>
            <a:endParaRPr lang="zh-CN" altLang="en-US" b="1" dirty="0">
              <a:solidFill>
                <a:srgbClr val="FFFFFF"/>
              </a:solidFill>
              <a:ea typeface="宋体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22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22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29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2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20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21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0"/>
                            </p:stCondLst>
                            <p:childTnLst>
                              <p:par>
                                <p:cTn id="24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22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22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229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2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33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34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22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22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229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2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500"/>
                            </p:stCondLst>
                            <p:childTnLst>
                              <p:par>
                                <p:cTn id="44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46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4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500"/>
                            </p:stCondLst>
                            <p:childTnLst>
                              <p:par>
                                <p:cTn id="50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22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22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229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22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000"/>
                            </p:stCondLst>
                            <p:childTnLst>
                              <p:par>
                                <p:cTn id="5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22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22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6500"/>
                            </p:stCondLst>
                            <p:childTnLst>
                              <p:par>
                                <p:cTn id="6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23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123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7000"/>
                            </p:stCondLst>
                            <p:childTnLst>
                              <p:par>
                                <p:cTn id="6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123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123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7500"/>
                            </p:stCondLst>
                            <p:childTnLst>
                              <p:par>
                                <p:cTn id="7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23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23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8000"/>
                            </p:stCondLst>
                            <p:childTnLst>
                              <p:par>
                                <p:cTn id="7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123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23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8500"/>
                            </p:stCondLst>
                            <p:childTnLst>
                              <p:par>
                                <p:cTn id="8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123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123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9000"/>
                            </p:stCondLst>
                            <p:childTnLst>
                              <p:par>
                                <p:cTn id="8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122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122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9500"/>
                            </p:stCondLst>
                            <p:childTnLst>
                              <p:par>
                                <p:cTn id="9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123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123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1230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123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91" grpId="0"/>
      <p:bldP spid="12299" grpId="0" animBg="1"/>
      <p:bldP spid="12300" grpId="0" animBg="1"/>
      <p:bldP spid="12301" grpId="0" animBg="1"/>
      <p:bldP spid="12302" grpId="0"/>
      <p:bldP spid="12303" grpId="0"/>
      <p:bldP spid="12304" grpId="0"/>
      <p:bldP spid="12305" grpId="0"/>
      <p:bldP spid="12293" grpId="0"/>
      <p:bldP spid="12295" grpId="0"/>
      <p:bldP spid="12297" grpId="0"/>
      <p:bldP spid="1229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heme/theme1.xml><?xml version="1.0" encoding="utf-8"?>
<a:theme xmlns:a="http://schemas.openxmlformats.org/drawingml/2006/main" name="Office 主题">
  <a:themeElements>
    <a:clrScheme name="Office 主题 1">
      <a:dk1>
        <a:srgbClr val="000000"/>
      </a:dk1>
      <a:lt1>
        <a:srgbClr val="FFFFFF"/>
      </a:lt1>
      <a:dk2>
        <a:srgbClr val="CC3300"/>
      </a:dk2>
      <a:lt2>
        <a:srgbClr val="808080"/>
      </a:lt2>
      <a:accent1>
        <a:srgbClr val="FF6161"/>
      </a:accent1>
      <a:accent2>
        <a:srgbClr val="FFC319"/>
      </a:accent2>
      <a:accent3>
        <a:srgbClr val="FFFFFF"/>
      </a:accent3>
      <a:accent4>
        <a:srgbClr val="000000"/>
      </a:accent4>
      <a:accent5>
        <a:srgbClr val="FFB7B7"/>
      </a:accent5>
      <a:accent6>
        <a:srgbClr val="E7B016"/>
      </a:accent6>
      <a:hlink>
        <a:srgbClr val="A8D02A"/>
      </a:hlink>
      <a:folHlink>
        <a:srgbClr val="5CB1FE"/>
      </a:folHlink>
    </a:clrScheme>
    <a:fontScheme name="Office 主题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Office 主题 1">
        <a:dk1>
          <a:srgbClr val="000000"/>
        </a:dk1>
        <a:lt1>
          <a:srgbClr val="FFFFFF"/>
        </a:lt1>
        <a:dk2>
          <a:srgbClr val="CC3300"/>
        </a:dk2>
        <a:lt2>
          <a:srgbClr val="808080"/>
        </a:lt2>
        <a:accent1>
          <a:srgbClr val="FF6161"/>
        </a:accent1>
        <a:accent2>
          <a:srgbClr val="FFC319"/>
        </a:accent2>
        <a:accent3>
          <a:srgbClr val="FFFFFF"/>
        </a:accent3>
        <a:accent4>
          <a:srgbClr val="000000"/>
        </a:accent4>
        <a:accent5>
          <a:srgbClr val="FFB7B7"/>
        </a:accent5>
        <a:accent6>
          <a:srgbClr val="E7B016"/>
        </a:accent6>
        <a:hlink>
          <a:srgbClr val="A8D02A"/>
        </a:hlink>
        <a:folHlink>
          <a:srgbClr val="5CB1F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主题 2">
        <a:dk1>
          <a:srgbClr val="000000"/>
        </a:dk1>
        <a:lt1>
          <a:srgbClr val="FFFFFF"/>
        </a:lt1>
        <a:dk2>
          <a:srgbClr val="006699"/>
        </a:dk2>
        <a:lt2>
          <a:srgbClr val="808080"/>
        </a:lt2>
        <a:accent1>
          <a:srgbClr val="78ABDA"/>
        </a:accent1>
        <a:accent2>
          <a:srgbClr val="8BD1C4"/>
        </a:accent2>
        <a:accent3>
          <a:srgbClr val="FFFFFF"/>
        </a:accent3>
        <a:accent4>
          <a:srgbClr val="000000"/>
        </a:accent4>
        <a:accent5>
          <a:srgbClr val="BED2EA"/>
        </a:accent5>
        <a:accent6>
          <a:srgbClr val="7DBDB1"/>
        </a:accent6>
        <a:hlink>
          <a:srgbClr val="89D278"/>
        </a:hlink>
        <a:folHlink>
          <a:srgbClr val="CEC08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主题 3">
        <a:dk1>
          <a:srgbClr val="000000"/>
        </a:dk1>
        <a:lt1>
          <a:srgbClr val="FFFFFF"/>
        </a:lt1>
        <a:dk2>
          <a:srgbClr val="5C1767"/>
        </a:dk2>
        <a:lt2>
          <a:srgbClr val="808080"/>
        </a:lt2>
        <a:accent1>
          <a:srgbClr val="D87AA5"/>
        </a:accent1>
        <a:accent2>
          <a:srgbClr val="AC8CD0"/>
        </a:accent2>
        <a:accent3>
          <a:srgbClr val="FFFFFF"/>
        </a:accent3>
        <a:accent4>
          <a:srgbClr val="000000"/>
        </a:accent4>
        <a:accent5>
          <a:srgbClr val="E9BECF"/>
        </a:accent5>
        <a:accent6>
          <a:srgbClr val="9B7EBC"/>
        </a:accent6>
        <a:hlink>
          <a:srgbClr val="DA7F70"/>
        </a:hlink>
        <a:folHlink>
          <a:srgbClr val="85A3D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53</TotalTime>
  <Pages>0</Pages>
  <Words>1257</Words>
  <Characters>0</Characters>
  <Application>Microsoft Office PowerPoint</Application>
  <DocSecurity>0</DocSecurity>
  <PresentationFormat>全屏显示(4:3)</PresentationFormat>
  <Lines>0</Lines>
  <Paragraphs>492</Paragraphs>
  <Slides>41</Slides>
  <Notes>0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1</vt:i4>
      </vt:variant>
    </vt:vector>
  </HeadingPairs>
  <TitlesOfParts>
    <vt:vector size="43" baseType="lpstr">
      <vt:lpstr>Office 主题</vt:lpstr>
      <vt:lpstr>Chart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Guild Design Inc.</Company>
  <LinksUpToDate>false</LinksUpToDate>
  <CharactersWithSpaces>0</CharactersWithSpaces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meGallery PowerTemplate</dc:title>
  <dc:creator>www.themegallery.com</dc:creator>
  <cp:lastModifiedBy>微软用户</cp:lastModifiedBy>
  <cp:revision>262</cp:revision>
  <cp:lastPrinted>1899-12-30T00:00:00Z</cp:lastPrinted>
  <dcterms:created xsi:type="dcterms:W3CDTF">2008-03-14T00:51:18Z</dcterms:created>
  <dcterms:modified xsi:type="dcterms:W3CDTF">2013-07-18T04:35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6.6.0.2699</vt:lpwstr>
  </property>
</Properties>
</file>